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charts/chartEx2.xml" ContentType="application/vnd.ms-office.chartex+xml"/>
  <Override PartName="/ppt/charts/style5.xml" ContentType="application/vnd.ms-office.chartstyle+xml"/>
  <Override PartName="/ppt/charts/colors5.xml" ContentType="application/vnd.ms-office.chartcolorstyle+xml"/>
  <Override PartName="/ppt/charts/chartEx3.xml" ContentType="application/vnd.ms-office.chartex+xml"/>
  <Override PartName="/ppt/charts/style6.xml" ContentType="application/vnd.ms-office.chartstyle+xml"/>
  <Override PartName="/ppt/charts/colors6.xml" ContentType="application/vnd.ms-office.chartcolorstyle+xml"/>
  <Override PartName="/ppt/charts/chartEx4.xml" ContentType="application/vnd.ms-office.chartex+xml"/>
  <Override PartName="/ppt/charts/style7.xml" ContentType="application/vnd.ms-office.chartstyle+xml"/>
  <Override PartName="/ppt/charts/colors7.xml" ContentType="application/vnd.ms-office.chartcolorstyle+xml"/>
  <Override PartName="/ppt/charts/chart4.xml" ContentType="application/vnd.openxmlformats-officedocument.drawingml.chart+xml"/>
  <Override PartName="/ppt/charts/style8.xml" ContentType="application/vnd.ms-office.chartstyle+xml"/>
  <Override PartName="/ppt/charts/colors8.xml" ContentType="application/vnd.ms-office.chartcolorstyl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635921-8B65-4DB1-9638-8A2A3594ADE3}" v="28" dt="2021-01-12T03:48:31.8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4" autoAdjust="0"/>
    <p:restoredTop sz="92814" autoAdjust="0"/>
  </p:normalViewPr>
  <p:slideViewPr>
    <p:cSldViewPr snapToGrid="0">
      <p:cViewPr varScale="1">
        <p:scale>
          <a:sx n="109" d="100"/>
          <a:sy n="109" d="100"/>
        </p:scale>
        <p:origin x="164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sina/Downloads/Statistical%20analysis%20M.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ina/Downloads/Statistical%20analysis%20M.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8.xml"/><Relationship Id="rId1" Type="http://schemas.microsoft.com/office/2011/relationships/chartStyle" Target="style8.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9.xml"/><Relationship Id="rId1" Type="http://schemas.microsoft.com/office/2011/relationships/chartStyle" Target="style9.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efa1b24c1e534f6d/Desktop/ko.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d.docs.live.net/efa1b24c1e534f6d/Desktop/ko.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d.docs.live.net/efa1b24c1e534f6d/Desktop/ko.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tistical Alarm Plo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Tdev!$H$1</c:f>
              <c:strCache>
                <c:ptCount val="1"/>
                <c:pt idx="0">
                  <c:v>Horse Power</c:v>
                </c:pt>
              </c:strCache>
            </c:strRef>
          </c:tx>
          <c:spPr>
            <a:ln w="28575" cap="rnd">
              <a:solidFill>
                <a:schemeClr val="accent1"/>
              </a:solidFill>
              <a:round/>
            </a:ln>
            <a:effectLst/>
          </c:spPr>
          <c:marker>
            <c:symbol val="none"/>
          </c:marker>
          <c:val>
            <c:numRef>
              <c:f>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2DFE-40DB-BE6D-BE84D5F1133E}"/>
            </c:ext>
          </c:extLst>
        </c:ser>
        <c:ser>
          <c:idx val="2"/>
          <c:order val="2"/>
          <c:tx>
            <c:strRef>
              <c:f>STdev!$J$1</c:f>
              <c:strCache>
                <c:ptCount val="1"/>
                <c:pt idx="0">
                  <c:v>PUMP FAILURE (1 or 0)</c:v>
                </c:pt>
              </c:strCache>
            </c:strRef>
          </c:tx>
          <c:spPr>
            <a:ln w="28575" cap="rnd">
              <a:solidFill>
                <a:schemeClr val="accent3"/>
              </a:solidFill>
              <a:round/>
            </a:ln>
            <a:effectLst/>
          </c:spPr>
          <c:marker>
            <c:symbol val="none"/>
          </c:marker>
          <c:val>
            <c:numRef>
              <c:f>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1-2DFE-40DB-BE6D-BE84D5F1133E}"/>
            </c:ext>
          </c:extLst>
        </c:ser>
        <c:dLbls>
          <c:showLegendKey val="0"/>
          <c:showVal val="0"/>
          <c:showCatName val="0"/>
          <c:showSerName val="0"/>
          <c:showPercent val="0"/>
          <c:showBubbleSize val="0"/>
        </c:dLbls>
        <c:marker val="1"/>
        <c:smooth val="0"/>
        <c:axId val="229903792"/>
        <c:axId val="2008193600"/>
      </c:lineChart>
      <c:lineChart>
        <c:grouping val="standard"/>
        <c:varyColors val="0"/>
        <c:ser>
          <c:idx val="1"/>
          <c:order val="1"/>
          <c:tx>
            <c:strRef>
              <c:f>STdev!$I$1</c:f>
              <c:strCache>
                <c:ptCount val="1"/>
                <c:pt idx="0">
                  <c:v>Pump Efficiency</c:v>
                </c:pt>
              </c:strCache>
            </c:strRef>
          </c:tx>
          <c:spPr>
            <a:ln w="28575" cap="rnd">
              <a:solidFill>
                <a:schemeClr val="accent2"/>
              </a:solidFill>
              <a:round/>
            </a:ln>
            <a:effectLst/>
          </c:spPr>
          <c:marker>
            <c:symbol val="none"/>
          </c:marker>
          <c:val>
            <c:numRef>
              <c:f>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2-2DFE-40DB-BE6D-BE84D5F1133E}"/>
            </c:ext>
          </c:extLst>
        </c:ser>
        <c:ser>
          <c:idx val="3"/>
          <c:order val="3"/>
          <c:tx>
            <c:strRef>
              <c:f>STdev!$K$1</c:f>
              <c:strCache>
                <c:ptCount val="1"/>
                <c:pt idx="0">
                  <c:v>Regression equation</c:v>
                </c:pt>
              </c:strCache>
            </c:strRef>
          </c:tx>
          <c:spPr>
            <a:ln w="28575" cap="rnd">
              <a:solidFill>
                <a:schemeClr val="accent4"/>
              </a:solidFill>
              <a:round/>
            </a:ln>
            <a:effectLst/>
          </c:spPr>
          <c:marker>
            <c:symbol val="none"/>
          </c:marker>
          <c:val>
            <c:numRef>
              <c:f>STdev!$K$2:$K$2453</c:f>
              <c:numCache>
                <c:formatCode>General</c:formatCode>
                <c:ptCount val="2452"/>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2DFE-40DB-BE6D-BE84D5F1133E}"/>
            </c:ext>
          </c:extLst>
        </c:ser>
        <c:dLbls>
          <c:showLegendKey val="0"/>
          <c:showVal val="0"/>
          <c:showCatName val="0"/>
          <c:showSerName val="0"/>
          <c:showPercent val="0"/>
          <c:showBubbleSize val="0"/>
        </c:dLbls>
        <c:marker val="1"/>
        <c:smooth val="0"/>
        <c:axId val="2126103888"/>
        <c:axId val="1901641968"/>
      </c:lineChart>
      <c:catAx>
        <c:axId val="22990379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8193600"/>
        <c:crosses val="autoZero"/>
        <c:auto val="1"/>
        <c:lblAlgn val="ctr"/>
        <c:lblOffset val="100"/>
        <c:noMultiLvlLbl val="0"/>
      </c:catAx>
      <c:valAx>
        <c:axId val="20081936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903792"/>
        <c:crosses val="autoZero"/>
        <c:crossBetween val="between"/>
      </c:valAx>
      <c:valAx>
        <c:axId val="1901641968"/>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6103888"/>
        <c:crosses val="max"/>
        <c:crossBetween val="between"/>
      </c:valAx>
      <c:catAx>
        <c:axId val="2126103888"/>
        <c:scaling>
          <c:orientation val="minMax"/>
        </c:scaling>
        <c:delete val="1"/>
        <c:axPos val="b"/>
        <c:majorTickMark val="out"/>
        <c:minorTickMark val="none"/>
        <c:tickLblPos val="nextTo"/>
        <c:crossAx val="19016419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RT Rolling Mean Line plot</a:t>
            </a:r>
            <a:r>
              <a:rPr lang="en-US" baseline="0" dirty="0"/>
              <a:t> for all variables</a:t>
            </a:r>
            <a:endParaRPr lang="en-US" dirty="0"/>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BEAD-FA4E-9A9D-D7DA377D7638}"/>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BEAD-FA4E-9A9D-D7DA377D7638}"/>
            </c:ext>
          </c:extLst>
        </c:ser>
        <c:ser>
          <c:idx val="2"/>
          <c:order val="2"/>
          <c:tx>
            <c:strRef>
              <c:f>'DRT Rolling Mean'!$E$1</c:f>
              <c:strCache>
                <c:ptCount val="1"/>
                <c:pt idx="0">
                  <c:v>Pump Speed (RPM)</c:v>
                </c:pt>
              </c:strCache>
            </c:strRef>
          </c:tx>
          <c:spPr>
            <a:ln w="28575" cap="rnd">
              <a:solidFill>
                <a:schemeClr val="accent3"/>
              </a:solidFill>
              <a:round/>
            </a:ln>
            <a:effectLst/>
          </c:spPr>
          <c:marker>
            <c:symbol val="none"/>
          </c:marker>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2-BEAD-FA4E-9A9D-D7DA377D7638}"/>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3-BEAD-FA4E-9A9D-D7DA377D7638}"/>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4-BEAD-FA4E-9A9D-D7DA377D7638}"/>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5-BEAD-FA4E-9A9D-D7DA377D7638}"/>
            </c:ext>
          </c:extLst>
        </c:ser>
        <c:dLbls>
          <c:showLegendKey val="0"/>
          <c:showVal val="0"/>
          <c:showCatName val="0"/>
          <c:showSerName val="0"/>
          <c:showPercent val="0"/>
          <c:showBubbleSize val="0"/>
        </c:dLbls>
        <c:marker val="1"/>
        <c:smooth val="0"/>
        <c:axId val="777774256"/>
        <c:axId val="304508704"/>
      </c:lineChart>
      <c:lineChart>
        <c:grouping val="standard"/>
        <c:varyColors val="0"/>
        <c:ser>
          <c:idx val="5"/>
          <c:order val="5"/>
          <c:tx>
            <c:strRef>
              <c:f>'DRT Rolling Mean'!$H$1</c:f>
              <c:strCache>
                <c:ptCount val="1"/>
                <c:pt idx="0">
                  <c:v>Horse Power</c:v>
                </c:pt>
              </c:strCache>
            </c:strRef>
          </c:tx>
          <c:spPr>
            <a:ln w="28575" cap="rnd">
              <a:solidFill>
                <a:schemeClr val="accent6"/>
              </a:solidFill>
              <a:round/>
            </a:ln>
            <a:effectLst/>
          </c:spPr>
          <c:marker>
            <c:symbol val="none"/>
          </c:marker>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BEAD-FA4E-9A9D-D7DA377D7638}"/>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BEAD-FA4E-9A9D-D7DA377D7638}"/>
            </c:ext>
          </c:extLst>
        </c:ser>
        <c:dLbls>
          <c:showLegendKey val="0"/>
          <c:showVal val="0"/>
          <c:showCatName val="0"/>
          <c:showSerName val="0"/>
          <c:showPercent val="0"/>
          <c:showBubbleSize val="0"/>
        </c:dLbls>
        <c:marker val="1"/>
        <c:smooth val="0"/>
        <c:axId val="777142784"/>
        <c:axId val="598868224"/>
      </c:lineChart>
      <c:catAx>
        <c:axId val="777774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4508704"/>
        <c:crosses val="autoZero"/>
        <c:auto val="1"/>
        <c:lblAlgn val="ctr"/>
        <c:lblOffset val="100"/>
        <c:noMultiLvlLbl val="0"/>
      </c:catAx>
      <c:valAx>
        <c:axId val="30450870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7774256"/>
        <c:crosses val="autoZero"/>
        <c:crossBetween val="between"/>
      </c:valAx>
      <c:valAx>
        <c:axId val="59886822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7142784"/>
        <c:crosses val="max"/>
        <c:crossBetween val="between"/>
      </c:valAx>
      <c:catAx>
        <c:axId val="777142784"/>
        <c:scaling>
          <c:orientation val="minMax"/>
        </c:scaling>
        <c:delete val="1"/>
        <c:axPos val="b"/>
        <c:majorTickMark val="out"/>
        <c:minorTickMark val="none"/>
        <c:tickLblPos val="nextTo"/>
        <c:crossAx val="5988682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RT Rolling STD DEV plots for all variab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val>
            <c:numRef>
              <c:f>'DRT Rolling Stdev'!$C$2:$C$2454</c:f>
              <c:numCache>
                <c:formatCode>#,##0.00</c:formatCode>
                <c:ptCount val="2401"/>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21.319161056686053</c:v>
                </c:pt>
                <c:pt idx="2254">
                  <c:v>21.394007636686972</c:v>
                </c:pt>
                <c:pt idx="2255">
                  <c:v>21.376028425887899</c:v>
                </c:pt>
                <c:pt idx="2256">
                  <c:v>21.23551201583593</c:v>
                </c:pt>
                <c:pt idx="2257">
                  <c:v>20.940242193046572</c:v>
                </c:pt>
                <c:pt idx="2258">
                  <c:v>20.593466514976246</c:v>
                </c:pt>
                <c:pt idx="2259">
                  <c:v>20.113883022178602</c:v>
                </c:pt>
                <c:pt idx="2260">
                  <c:v>19.554898272217663</c:v>
                </c:pt>
                <c:pt idx="2261">
                  <c:v>18.853029342848288</c:v>
                </c:pt>
                <c:pt idx="2262">
                  <c:v>18.038093025594463</c:v>
                </c:pt>
                <c:pt idx="2263">
                  <c:v>17.041628746831311</c:v>
                </c:pt>
                <c:pt idx="2264">
                  <c:v>15.8658892727068</c:v>
                </c:pt>
                <c:pt idx="2265">
                  <c:v>14.486596107492231</c:v>
                </c:pt>
                <c:pt idx="2266">
                  <c:v>12.804143909858549</c:v>
                </c:pt>
                <c:pt idx="2267">
                  <c:v>10.65550775501762</c:v>
                </c:pt>
                <c:pt idx="2268">
                  <c:v>7.7073688355894703</c:v>
                </c:pt>
                <c:pt idx="2269">
                  <c:v>1.1718565680542794</c:v>
                </c:pt>
                <c:pt idx="2270">
                  <c:v>1.15533987635027</c:v>
                </c:pt>
                <c:pt idx="2271">
                  <c:v>1.1613535503736654</c:v>
                </c:pt>
                <c:pt idx="2272">
                  <c:v>1.1622382785349801</c:v>
                </c:pt>
                <c:pt idx="2273">
                  <c:v>1.1432937394705898</c:v>
                </c:pt>
                <c:pt idx="2274">
                  <c:v>1.1984539849418452</c:v>
                </c:pt>
                <c:pt idx="2275">
                  <c:v>1.1308584878490455</c:v>
                </c:pt>
                <c:pt idx="2276">
                  <c:v>1.1503693060186735</c:v>
                </c:pt>
                <c:pt idx="2277">
                  <c:v>1.1767227527253852</c:v>
                </c:pt>
                <c:pt idx="2278">
                  <c:v>1.1982595136567726</c:v>
                </c:pt>
                <c:pt idx="2279">
                  <c:v>1.1588058161487751</c:v>
                </c:pt>
                <c:pt idx="2280">
                  <c:v>1.2014770603040164</c:v>
                </c:pt>
                <c:pt idx="2281">
                  <c:v>1.1574315600034211</c:v>
                </c:pt>
                <c:pt idx="2282">
                  <c:v>1.1526682688141603</c:v>
                </c:pt>
                <c:pt idx="2283">
                  <c:v>1.0884304844776393</c:v>
                </c:pt>
                <c:pt idx="2284">
                  <c:v>1.0886260981664893</c:v>
                </c:pt>
                <c:pt idx="2285">
                  <c:v>1.0727727528746913</c:v>
                </c:pt>
                <c:pt idx="2286">
                  <c:v>1.0832870900828775</c:v>
                </c:pt>
                <c:pt idx="2287">
                  <c:v>1.1398237411633163</c:v>
                </c:pt>
                <c:pt idx="2288">
                  <c:v>1.1552857535751886</c:v>
                </c:pt>
                <c:pt idx="2289">
                  <c:v>1.145813769947934</c:v>
                </c:pt>
                <c:pt idx="2290">
                  <c:v>1.1435273117174227</c:v>
                </c:pt>
                <c:pt idx="2291">
                  <c:v>1.1615754758976682</c:v>
                </c:pt>
                <c:pt idx="2292">
                  <c:v>1.2386442811285296</c:v>
                </c:pt>
                <c:pt idx="2293">
                  <c:v>1.2207789580295914</c:v>
                </c:pt>
                <c:pt idx="2294">
                  <c:v>1.2040852396603052</c:v>
                </c:pt>
                <c:pt idx="2295">
                  <c:v>1.21180097755176</c:v>
                </c:pt>
                <c:pt idx="2296">
                  <c:v>1.2702035767690074</c:v>
                </c:pt>
                <c:pt idx="2297">
                  <c:v>1.2435804814297711</c:v>
                </c:pt>
                <c:pt idx="2298">
                  <c:v>1.2722169987679071</c:v>
                </c:pt>
                <c:pt idx="2299">
                  <c:v>1.2960501001384797</c:v>
                </c:pt>
                <c:pt idx="2300">
                  <c:v>1.3119249698198365</c:v>
                </c:pt>
                <c:pt idx="2301">
                  <c:v>1.3163081426614285</c:v>
                </c:pt>
                <c:pt idx="2302">
                  <c:v>1.3431085919072854</c:v>
                </c:pt>
                <c:pt idx="2303">
                  <c:v>1.3515204294661498</c:v>
                </c:pt>
                <c:pt idx="2304">
                  <c:v>1.3478413989715581</c:v>
                </c:pt>
                <c:pt idx="2305">
                  <c:v>1.392895107899081</c:v>
                </c:pt>
                <c:pt idx="2306">
                  <c:v>1.3815174066321365</c:v>
                </c:pt>
                <c:pt idx="2307">
                  <c:v>1.3815270994217881</c:v>
                </c:pt>
                <c:pt idx="2308">
                  <c:v>1.3621747318167363</c:v>
                </c:pt>
                <c:pt idx="2309">
                  <c:v>1.3181029994812155</c:v>
                </c:pt>
                <c:pt idx="2310">
                  <c:v>1.3048410745700239</c:v>
                </c:pt>
                <c:pt idx="2311">
                  <c:v>1.3136181498739115</c:v>
                </c:pt>
                <c:pt idx="2312">
                  <c:v>1.2952552227086442</c:v>
                </c:pt>
                <c:pt idx="2313">
                  <c:v>1.3084903998259898</c:v>
                </c:pt>
                <c:pt idx="2314">
                  <c:v>1.28652521406958</c:v>
                </c:pt>
                <c:pt idx="2315">
                  <c:v>1.2512336900541137</c:v>
                </c:pt>
                <c:pt idx="2316">
                  <c:v>1.2555982225822564</c:v>
                </c:pt>
                <c:pt idx="2317">
                  <c:v>1.2284246523237716</c:v>
                </c:pt>
                <c:pt idx="2318">
                  <c:v>1.1923923600182464</c:v>
                </c:pt>
                <c:pt idx="2319">
                  <c:v>1.2319353991123903</c:v>
                </c:pt>
                <c:pt idx="2320">
                  <c:v>1.2254377120877642</c:v>
                </c:pt>
                <c:pt idx="2321">
                  <c:v>1.2592024934617259</c:v>
                </c:pt>
                <c:pt idx="2322">
                  <c:v>1.2110347053124701</c:v>
                </c:pt>
                <c:pt idx="2323">
                  <c:v>1.2543268103355021</c:v>
                </c:pt>
                <c:pt idx="2324">
                  <c:v>1.2608173320618588</c:v>
                </c:pt>
                <c:pt idx="2325">
                  <c:v>1.2836749060287085</c:v>
                </c:pt>
                <c:pt idx="2326">
                  <c:v>1.2394297910315653</c:v>
                </c:pt>
                <c:pt idx="2327">
                  <c:v>1.2370638207270155</c:v>
                </c:pt>
                <c:pt idx="2328">
                  <c:v>1.2028252182869812</c:v>
                </c:pt>
                <c:pt idx="2329">
                  <c:v>1.1785635129355509</c:v>
                </c:pt>
                <c:pt idx="2330">
                  <c:v>1.1397170953667679</c:v>
                </c:pt>
                <c:pt idx="2331">
                  <c:v>1.1124180972046904</c:v>
                </c:pt>
                <c:pt idx="2332">
                  <c:v>1.0975896266390939</c:v>
                </c:pt>
                <c:pt idx="2333">
                  <c:v>1.0724598966325296</c:v>
                </c:pt>
                <c:pt idx="2334">
                  <c:v>1.0340124390634426</c:v>
                </c:pt>
                <c:pt idx="2335">
                  <c:v>0.9995203447355282</c:v>
                </c:pt>
                <c:pt idx="2336">
                  <c:v>1.0499974822082565</c:v>
                </c:pt>
                <c:pt idx="2337">
                  <c:v>1.0875838453607405</c:v>
                </c:pt>
                <c:pt idx="2338">
                  <c:v>1.1243540163235906</c:v>
                </c:pt>
                <c:pt idx="2339">
                  <c:v>1.1182386087981833</c:v>
                </c:pt>
                <c:pt idx="2340">
                  <c:v>1.0836212703113872</c:v>
                </c:pt>
                <c:pt idx="2341">
                  <c:v>1.0739625306505716</c:v>
                </c:pt>
                <c:pt idx="2342">
                  <c:v>1.096740258859088</c:v>
                </c:pt>
                <c:pt idx="2343">
                  <c:v>1.0786060075580104</c:v>
                </c:pt>
                <c:pt idx="2344">
                  <c:v>1.082872138789025</c:v>
                </c:pt>
                <c:pt idx="2345">
                  <c:v>1.0750709145281383</c:v>
                </c:pt>
                <c:pt idx="2346">
                  <c:v>1.1133282916810616</c:v>
                </c:pt>
                <c:pt idx="2347">
                  <c:v>1.1057176896456897</c:v>
                </c:pt>
                <c:pt idx="2348">
                  <c:v>1.1169832627194565</c:v>
                </c:pt>
                <c:pt idx="2349">
                  <c:v>1.0571643376417921</c:v>
                </c:pt>
                <c:pt idx="2350">
                  <c:v>1.0667109724993808</c:v>
                </c:pt>
                <c:pt idx="2351">
                  <c:v>1.0171752637777718</c:v>
                </c:pt>
                <c:pt idx="2352">
                  <c:v>1.015595912492397</c:v>
                </c:pt>
                <c:pt idx="2353">
                  <c:v>1.0230917757509317</c:v>
                </c:pt>
                <c:pt idx="2354">
                  <c:v>1.0287236260777597</c:v>
                </c:pt>
                <c:pt idx="2355">
                  <c:v>0.99732377523233529</c:v>
                </c:pt>
                <c:pt idx="2356">
                  <c:v>0.99549998989706545</c:v>
                </c:pt>
                <c:pt idx="2357">
                  <c:v>1.019849493065397</c:v>
                </c:pt>
                <c:pt idx="2358">
                  <c:v>1.0219774048832753</c:v>
                </c:pt>
                <c:pt idx="2359">
                  <c:v>1.0295929337342025</c:v>
                </c:pt>
                <c:pt idx="2360">
                  <c:v>1.0431958522765017</c:v>
                </c:pt>
                <c:pt idx="2361">
                  <c:v>1.02919279830941</c:v>
                </c:pt>
                <c:pt idx="2362">
                  <c:v>1.0176576666231043</c:v>
                </c:pt>
                <c:pt idx="2363">
                  <c:v>0.98305411972019663</c:v>
                </c:pt>
                <c:pt idx="2364">
                  <c:v>1.0239643492357278</c:v>
                </c:pt>
                <c:pt idx="2365">
                  <c:v>1.053662250406189</c:v>
                </c:pt>
                <c:pt idx="2366">
                  <c:v>1.0192253086953136</c:v>
                </c:pt>
                <c:pt idx="2367">
                  <c:v>0.99778006467921776</c:v>
                </c:pt>
                <c:pt idx="2368">
                  <c:v>0.95707342468061696</c:v>
                </c:pt>
                <c:pt idx="2369">
                  <c:v>0.99371796919390065</c:v>
                </c:pt>
                <c:pt idx="2370">
                  <c:v>1.0312619765936373</c:v>
                </c:pt>
                <c:pt idx="2371">
                  <c:v>1.0258133302437371</c:v>
                </c:pt>
                <c:pt idx="2372">
                  <c:v>1.022586790371538</c:v>
                </c:pt>
                <c:pt idx="2373">
                  <c:v>1.0389432971068124</c:v>
                </c:pt>
                <c:pt idx="2374">
                  <c:v>1.0391751056895562</c:v>
                </c:pt>
                <c:pt idx="2375">
                  <c:v>1.057892244040006</c:v>
                </c:pt>
                <c:pt idx="2376">
                  <c:v>1.0243131031736992</c:v>
                </c:pt>
                <c:pt idx="2377">
                  <c:v>1.0304241423042642</c:v>
                </c:pt>
                <c:pt idx="2378">
                  <c:v>1.0335020475129397</c:v>
                </c:pt>
                <c:pt idx="2379">
                  <c:v>1.0524072590784612</c:v>
                </c:pt>
                <c:pt idx="2380">
                  <c:v>1.0646812623861615</c:v>
                </c:pt>
                <c:pt idx="2381">
                  <c:v>1.0894933636666559</c:v>
                </c:pt>
                <c:pt idx="2382">
                  <c:v>1.1189199575237854</c:v>
                </c:pt>
                <c:pt idx="2383">
                  <c:v>1.0598458390796182</c:v>
                </c:pt>
                <c:pt idx="2384">
                  <c:v>1.0626378803270109</c:v>
                </c:pt>
                <c:pt idx="2385">
                  <c:v>1.0888457190989</c:v>
                </c:pt>
                <c:pt idx="2386">
                  <c:v>1.0829435196106338</c:v>
                </c:pt>
                <c:pt idx="2387">
                  <c:v>1.0921148452268359</c:v>
                </c:pt>
                <c:pt idx="2388">
                  <c:v>1.1360491592830357</c:v>
                </c:pt>
                <c:pt idx="2389">
                  <c:v>1.1753229730202208</c:v>
                </c:pt>
                <c:pt idx="2390">
                  <c:v>1.1791969532463416</c:v>
                </c:pt>
                <c:pt idx="2391">
                  <c:v>1.242426389502949</c:v>
                </c:pt>
                <c:pt idx="2392">
                  <c:v>1.2199601541762657</c:v>
                </c:pt>
                <c:pt idx="2393">
                  <c:v>1.2694817559033407</c:v>
                </c:pt>
                <c:pt idx="2394">
                  <c:v>1.3135701986063273</c:v>
                </c:pt>
                <c:pt idx="2395">
                  <c:v>1.3571551127266184</c:v>
                </c:pt>
                <c:pt idx="2396">
                  <c:v>1.50985098602478</c:v>
                </c:pt>
                <c:pt idx="2397">
                  <c:v>1.5650851946992108</c:v>
                </c:pt>
                <c:pt idx="2398">
                  <c:v>1.7643790220169056</c:v>
                </c:pt>
                <c:pt idx="2399">
                  <c:v>0.38183766184073509</c:v>
                </c:pt>
              </c:numCache>
            </c:numRef>
          </c:val>
          <c:smooth val="0"/>
          <c:extLst>
            <c:ext xmlns:c16="http://schemas.microsoft.com/office/drawing/2014/chart" uri="{C3380CC4-5D6E-409C-BE32-E72D297353CC}">
              <c16:uniqueId val="{00000000-502A-4D47-98A0-26375414C71F}"/>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val>
            <c:numRef>
              <c:f>'DRT Rolling Stdev'!$D$2:$D$2454</c:f>
              <c:numCache>
                <c:formatCode>#,##0.00</c:formatCode>
                <c:ptCount val="2401"/>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21.52995898261544</c:v>
                </c:pt>
                <c:pt idx="2254">
                  <c:v>21.528354414425255</c:v>
                </c:pt>
                <c:pt idx="2255">
                  <c:v>21.443528137074761</c:v>
                </c:pt>
                <c:pt idx="2256">
                  <c:v>21.305426660182462</c:v>
                </c:pt>
                <c:pt idx="2257">
                  <c:v>21.038157137618455</c:v>
                </c:pt>
                <c:pt idx="2258">
                  <c:v>20.671367584562269</c:v>
                </c:pt>
                <c:pt idx="2259">
                  <c:v>20.221359564670177</c:v>
                </c:pt>
                <c:pt idx="2260">
                  <c:v>19.629015281453626</c:v>
                </c:pt>
                <c:pt idx="2261">
                  <c:v>18.93312307941375</c:v>
                </c:pt>
                <c:pt idx="2262">
                  <c:v>18.115783998631059</c:v>
                </c:pt>
                <c:pt idx="2263">
                  <c:v>17.15104495325301</c:v>
                </c:pt>
                <c:pt idx="2264">
                  <c:v>15.959624862355829</c:v>
                </c:pt>
                <c:pt idx="2265">
                  <c:v>14.545972543676116</c:v>
                </c:pt>
                <c:pt idx="2266">
                  <c:v>12.829736601519464</c:v>
                </c:pt>
                <c:pt idx="2267">
                  <c:v>10.680124175953836</c:v>
                </c:pt>
                <c:pt idx="2268">
                  <c:v>7.7304349181006113</c:v>
                </c:pt>
                <c:pt idx="2269">
                  <c:v>1.1142826154645131</c:v>
                </c:pt>
                <c:pt idx="2270">
                  <c:v>1.1053540026907067</c:v>
                </c:pt>
                <c:pt idx="2271">
                  <c:v>1.1107118976315278</c:v>
                </c:pt>
                <c:pt idx="2272">
                  <c:v>1.1264606864693143</c:v>
                </c:pt>
                <c:pt idx="2273">
                  <c:v>1.1381992735048183</c:v>
                </c:pt>
                <c:pt idx="2274">
                  <c:v>1.135744021669769</c:v>
                </c:pt>
                <c:pt idx="2275">
                  <c:v>1.1323871642045276</c:v>
                </c:pt>
                <c:pt idx="2276">
                  <c:v>1.1073967090723937</c:v>
                </c:pt>
                <c:pt idx="2277">
                  <c:v>1.1064658971740591</c:v>
                </c:pt>
                <c:pt idx="2278">
                  <c:v>1.1434261883811572</c:v>
                </c:pt>
                <c:pt idx="2279">
                  <c:v>1.1688525171708157</c:v>
                </c:pt>
                <c:pt idx="2280">
                  <c:v>1.1876395985701866</c:v>
                </c:pt>
                <c:pt idx="2281">
                  <c:v>1.173613145841488</c:v>
                </c:pt>
                <c:pt idx="2282">
                  <c:v>1.1345627544028407</c:v>
                </c:pt>
                <c:pt idx="2283">
                  <c:v>1.0821107513378281</c:v>
                </c:pt>
                <c:pt idx="2284">
                  <c:v>1.0703616318742488</c:v>
                </c:pt>
                <c:pt idx="2285">
                  <c:v>1.1198389149347765</c:v>
                </c:pt>
                <c:pt idx="2286">
                  <c:v>1.1336128796549283</c:v>
                </c:pt>
                <c:pt idx="2287">
                  <c:v>1.1745974610062369</c:v>
                </c:pt>
                <c:pt idx="2288">
                  <c:v>1.2161065156766755</c:v>
                </c:pt>
                <c:pt idx="2289">
                  <c:v>1.2596899819299638</c:v>
                </c:pt>
                <c:pt idx="2290">
                  <c:v>1.2383901767557173</c:v>
                </c:pt>
                <c:pt idx="2291">
                  <c:v>1.2761470386941371</c:v>
                </c:pt>
                <c:pt idx="2292">
                  <c:v>1.2864439090121582</c:v>
                </c:pt>
                <c:pt idx="2293">
                  <c:v>1.3058633907887527</c:v>
                </c:pt>
                <c:pt idx="2294">
                  <c:v>1.2785730192356011</c:v>
                </c:pt>
                <c:pt idx="2295">
                  <c:v>1.2755920869987365</c:v>
                </c:pt>
                <c:pt idx="2296">
                  <c:v>1.2256100521780977</c:v>
                </c:pt>
                <c:pt idx="2297">
                  <c:v>1.2664680273768523</c:v>
                </c:pt>
                <c:pt idx="2298">
                  <c:v>1.2601286195984258</c:v>
                </c:pt>
                <c:pt idx="2299">
                  <c:v>1.256858700532183</c:v>
                </c:pt>
                <c:pt idx="2300">
                  <c:v>1.2669374786123597</c:v>
                </c:pt>
                <c:pt idx="2301">
                  <c:v>1.2704648438820454</c:v>
                </c:pt>
                <c:pt idx="2302">
                  <c:v>1.2653633343099882</c:v>
                </c:pt>
                <c:pt idx="2303">
                  <c:v>1.2556863306254233</c:v>
                </c:pt>
                <c:pt idx="2304">
                  <c:v>1.2544825832685511</c:v>
                </c:pt>
                <c:pt idx="2305">
                  <c:v>1.240886038651229</c:v>
                </c:pt>
                <c:pt idx="2306">
                  <c:v>1.2279653295491337</c:v>
                </c:pt>
                <c:pt idx="2307">
                  <c:v>1.2698368073265867</c:v>
                </c:pt>
                <c:pt idx="2308">
                  <c:v>1.2299696753574252</c:v>
                </c:pt>
                <c:pt idx="2309">
                  <c:v>1.1933821347499003</c:v>
                </c:pt>
                <c:pt idx="2310">
                  <c:v>1.1837227463514775</c:v>
                </c:pt>
                <c:pt idx="2311">
                  <c:v>1.2038264662813902</c:v>
                </c:pt>
                <c:pt idx="2312">
                  <c:v>1.1983141414542327</c:v>
                </c:pt>
                <c:pt idx="2313">
                  <c:v>1.2002607475332032</c:v>
                </c:pt>
                <c:pt idx="2314">
                  <c:v>1.2247131496193604</c:v>
                </c:pt>
                <c:pt idx="2315">
                  <c:v>1.1817058097046211</c:v>
                </c:pt>
                <c:pt idx="2316">
                  <c:v>1.1881191549826899</c:v>
                </c:pt>
                <c:pt idx="2317">
                  <c:v>1.1365600954523747</c:v>
                </c:pt>
                <c:pt idx="2318">
                  <c:v>1.1580795140747195</c:v>
                </c:pt>
                <c:pt idx="2319">
                  <c:v>1.1614792391551836</c:v>
                </c:pt>
                <c:pt idx="2320">
                  <c:v>1.1841724400677844</c:v>
                </c:pt>
                <c:pt idx="2321">
                  <c:v>1.1719219404391901</c:v>
                </c:pt>
                <c:pt idx="2322">
                  <c:v>1.1742692029170905</c:v>
                </c:pt>
                <c:pt idx="2323">
                  <c:v>1.1516595222427559</c:v>
                </c:pt>
                <c:pt idx="2324">
                  <c:v>1.1739274880189303</c:v>
                </c:pt>
                <c:pt idx="2325">
                  <c:v>1.1950118548923829</c:v>
                </c:pt>
                <c:pt idx="2326">
                  <c:v>1.1999279671866898</c:v>
                </c:pt>
                <c:pt idx="2327">
                  <c:v>1.1946134372121453</c:v>
                </c:pt>
                <c:pt idx="2328">
                  <c:v>1.235895552258343</c:v>
                </c:pt>
                <c:pt idx="2329">
                  <c:v>1.2526323547202325</c:v>
                </c:pt>
                <c:pt idx="2330">
                  <c:v>1.2337746958014664</c:v>
                </c:pt>
                <c:pt idx="2331">
                  <c:v>1.2276624362874609</c:v>
                </c:pt>
                <c:pt idx="2332">
                  <c:v>1.2249267395405243</c:v>
                </c:pt>
                <c:pt idx="2333">
                  <c:v>1.2083342766544078</c:v>
                </c:pt>
                <c:pt idx="2334">
                  <c:v>1.1953948513251647</c:v>
                </c:pt>
                <c:pt idx="2335">
                  <c:v>1.2286070984244113</c:v>
                </c:pt>
                <c:pt idx="2336">
                  <c:v>1.2269916486052899</c:v>
                </c:pt>
                <c:pt idx="2337">
                  <c:v>1.1641882870979647</c:v>
                </c:pt>
                <c:pt idx="2338">
                  <c:v>1.1837998432866588</c:v>
                </c:pt>
                <c:pt idx="2339">
                  <c:v>1.1755636456855372</c:v>
                </c:pt>
                <c:pt idx="2340">
                  <c:v>1.1845744179764051</c:v>
                </c:pt>
                <c:pt idx="2341">
                  <c:v>1.1705640648358628</c:v>
                </c:pt>
                <c:pt idx="2342">
                  <c:v>1.1688335869673616</c:v>
                </c:pt>
                <c:pt idx="2343">
                  <c:v>1.1662700146734619</c:v>
                </c:pt>
                <c:pt idx="2344">
                  <c:v>1.1427532793526629</c:v>
                </c:pt>
                <c:pt idx="2345">
                  <c:v>1.2032504349450293</c:v>
                </c:pt>
                <c:pt idx="2346">
                  <c:v>1.1879508097715081</c:v>
                </c:pt>
                <c:pt idx="2347">
                  <c:v>1.1774763584516863</c:v>
                </c:pt>
                <c:pt idx="2348">
                  <c:v>1.1433355618087595</c:v>
                </c:pt>
                <c:pt idx="2349">
                  <c:v>1.1537224112839493</c:v>
                </c:pt>
                <c:pt idx="2350">
                  <c:v>1.1323600113931516</c:v>
                </c:pt>
                <c:pt idx="2351">
                  <c:v>1.1429675028817214</c:v>
                </c:pt>
                <c:pt idx="2352">
                  <c:v>1.1155888605338107</c:v>
                </c:pt>
                <c:pt idx="2353">
                  <c:v>1.1029440227143801</c:v>
                </c:pt>
                <c:pt idx="2354">
                  <c:v>1.0807370835120633</c:v>
                </c:pt>
                <c:pt idx="2355">
                  <c:v>1.0416364225494463</c:v>
                </c:pt>
                <c:pt idx="2356">
                  <c:v>1.0543765385560655</c:v>
                </c:pt>
                <c:pt idx="2357">
                  <c:v>1.0143069090502763</c:v>
                </c:pt>
                <c:pt idx="2358">
                  <c:v>0.97593344647779212</c:v>
                </c:pt>
                <c:pt idx="2359">
                  <c:v>0.9401347421159012</c:v>
                </c:pt>
                <c:pt idx="2360">
                  <c:v>0.96274655000172749</c:v>
                </c:pt>
                <c:pt idx="2361">
                  <c:v>0.97373200778679592</c:v>
                </c:pt>
                <c:pt idx="2362">
                  <c:v>0.92862925801989116</c:v>
                </c:pt>
                <c:pt idx="2363">
                  <c:v>0.93191935174719831</c:v>
                </c:pt>
                <c:pt idx="2364">
                  <c:v>0.93293068079703145</c:v>
                </c:pt>
                <c:pt idx="2365">
                  <c:v>0.89486941190757852</c:v>
                </c:pt>
                <c:pt idx="2366">
                  <c:v>0.90626231263930623</c:v>
                </c:pt>
                <c:pt idx="2367">
                  <c:v>0.86117595355914622</c:v>
                </c:pt>
                <c:pt idx="2368">
                  <c:v>0.85451612980209635</c:v>
                </c:pt>
                <c:pt idx="2369">
                  <c:v>0.86685910772378538</c:v>
                </c:pt>
                <c:pt idx="2370">
                  <c:v>0.85808561317634802</c:v>
                </c:pt>
                <c:pt idx="2371">
                  <c:v>0.85136374710522922</c:v>
                </c:pt>
                <c:pt idx="2372">
                  <c:v>0.8611437004974275</c:v>
                </c:pt>
                <c:pt idx="2373">
                  <c:v>0.8630302219628021</c:v>
                </c:pt>
                <c:pt idx="2374">
                  <c:v>0.87801933277004107</c:v>
                </c:pt>
                <c:pt idx="2375">
                  <c:v>0.83488598945282066</c:v>
                </c:pt>
                <c:pt idx="2376">
                  <c:v>0.84859197105165529</c:v>
                </c:pt>
                <c:pt idx="2377">
                  <c:v>0.86644158169651231</c:v>
                </c:pt>
                <c:pt idx="2378">
                  <c:v>0.86300170148087962</c:v>
                </c:pt>
                <c:pt idx="2379">
                  <c:v>0.79781574107682096</c:v>
                </c:pt>
                <c:pt idx="2380">
                  <c:v>0.81685663485385374</c:v>
                </c:pt>
                <c:pt idx="2381">
                  <c:v>0.75590499960051349</c:v>
                </c:pt>
                <c:pt idx="2382">
                  <c:v>0.77626787442576617</c:v>
                </c:pt>
                <c:pt idx="2383">
                  <c:v>0.79656062137756434</c:v>
                </c:pt>
                <c:pt idx="2384">
                  <c:v>0.82107309626595637</c:v>
                </c:pt>
                <c:pt idx="2385">
                  <c:v>0.81568759338364305</c:v>
                </c:pt>
                <c:pt idx="2386">
                  <c:v>0.77714557072355361</c:v>
                </c:pt>
                <c:pt idx="2387">
                  <c:v>0.79628395178361577</c:v>
                </c:pt>
                <c:pt idx="2388">
                  <c:v>0.76340247139587725</c:v>
                </c:pt>
                <c:pt idx="2389">
                  <c:v>0.79704520612450869</c:v>
                </c:pt>
                <c:pt idx="2390">
                  <c:v>0.76149135970744319</c:v>
                </c:pt>
                <c:pt idx="2391">
                  <c:v>0.68197099970925723</c:v>
                </c:pt>
                <c:pt idx="2392">
                  <c:v>0.72311824759163645</c:v>
                </c:pt>
                <c:pt idx="2393">
                  <c:v>0.76404936265363654</c:v>
                </c:pt>
                <c:pt idx="2394">
                  <c:v>0.82360415827253375</c:v>
                </c:pt>
                <c:pt idx="2395">
                  <c:v>0.89767291741851385</c:v>
                </c:pt>
                <c:pt idx="2396">
                  <c:v>0.82314640253116567</c:v>
                </c:pt>
                <c:pt idx="2397">
                  <c:v>0.93289424195171566</c:v>
                </c:pt>
                <c:pt idx="2398">
                  <c:v>1.1001969520650978</c:v>
                </c:pt>
                <c:pt idx="2399">
                  <c:v>0.6434671708797558</c:v>
                </c:pt>
              </c:numCache>
            </c:numRef>
          </c:val>
          <c:smooth val="0"/>
          <c:extLst>
            <c:ext xmlns:c16="http://schemas.microsoft.com/office/drawing/2014/chart" uri="{C3380CC4-5D6E-409C-BE32-E72D297353CC}">
              <c16:uniqueId val="{00000001-502A-4D47-98A0-26375414C71F}"/>
            </c:ext>
          </c:extLst>
        </c:ser>
        <c:ser>
          <c:idx val="2"/>
          <c:order val="2"/>
          <c:tx>
            <c:strRef>
              <c:f>'DRT Rolling Stdev'!$E$1</c:f>
              <c:strCache>
                <c:ptCount val="1"/>
                <c:pt idx="0">
                  <c:v>Pump Speed (RPM)</c:v>
                </c:pt>
              </c:strCache>
            </c:strRef>
          </c:tx>
          <c:spPr>
            <a:ln w="28575" cap="rnd">
              <a:solidFill>
                <a:schemeClr val="accent3"/>
              </a:solidFill>
              <a:round/>
            </a:ln>
            <a:effectLst/>
          </c:spPr>
          <c:marker>
            <c:symbol val="none"/>
          </c:marker>
          <c:val>
            <c:numRef>
              <c:f>'DRT Rolling Stdev'!$E$2:$E$2454</c:f>
              <c:numCache>
                <c:formatCode>#,##0.00</c:formatCode>
                <c:ptCount val="2401"/>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5.931683402961461</c:v>
                </c:pt>
                <c:pt idx="2254">
                  <c:v>46.097148788583247</c:v>
                </c:pt>
                <c:pt idx="2255">
                  <c:v>46.335904997679961</c:v>
                </c:pt>
                <c:pt idx="2256">
                  <c:v>46.091874767037083</c:v>
                </c:pt>
                <c:pt idx="2257">
                  <c:v>45.519024695125026</c:v>
                </c:pt>
                <c:pt idx="2258">
                  <c:v>44.735814549958469</c:v>
                </c:pt>
                <c:pt idx="2259">
                  <c:v>43.826932358995876</c:v>
                </c:pt>
                <c:pt idx="2260">
                  <c:v>42.740919584123972</c:v>
                </c:pt>
                <c:pt idx="2261">
                  <c:v>41.240589313157869</c:v>
                </c:pt>
                <c:pt idx="2262">
                  <c:v>39.399063528167154</c:v>
                </c:pt>
                <c:pt idx="2263">
                  <c:v>37.434525216181385</c:v>
                </c:pt>
                <c:pt idx="2264">
                  <c:v>35.026492436637049</c:v>
                </c:pt>
                <c:pt idx="2265">
                  <c:v>32.124470566772032</c:v>
                </c:pt>
                <c:pt idx="2266">
                  <c:v>28.587916424903039</c:v>
                </c:pt>
                <c:pt idx="2267">
                  <c:v>23.940635392330464</c:v>
                </c:pt>
                <c:pt idx="2268">
                  <c:v>17.721861296604597</c:v>
                </c:pt>
                <c:pt idx="2269">
                  <c:v>6.0894670699004774</c:v>
                </c:pt>
                <c:pt idx="2270">
                  <c:v>6.0257111947303663</c:v>
                </c:pt>
                <c:pt idx="2271">
                  <c:v>6.014923968333064</c:v>
                </c:pt>
                <c:pt idx="2272">
                  <c:v>5.8397173605042498</c:v>
                </c:pt>
                <c:pt idx="2273">
                  <c:v>6.0142550966695856</c:v>
                </c:pt>
                <c:pt idx="2274">
                  <c:v>6.2584196161614178</c:v>
                </c:pt>
                <c:pt idx="2275">
                  <c:v>6.2848111009570244</c:v>
                </c:pt>
                <c:pt idx="2276">
                  <c:v>6.2072445624021677</c:v>
                </c:pt>
                <c:pt idx="2277">
                  <c:v>6.1199691983298203</c:v>
                </c:pt>
                <c:pt idx="2278">
                  <c:v>6.3321838037234786</c:v>
                </c:pt>
                <c:pt idx="2279">
                  <c:v>6.3915353505969943</c:v>
                </c:pt>
                <c:pt idx="2280">
                  <c:v>6.1741954662265446</c:v>
                </c:pt>
                <c:pt idx="2281">
                  <c:v>6.3622449590958254</c:v>
                </c:pt>
                <c:pt idx="2282">
                  <c:v>6.0557752429481271</c:v>
                </c:pt>
                <c:pt idx="2283">
                  <c:v>6.1941759816745616</c:v>
                </c:pt>
                <c:pt idx="2284">
                  <c:v>6.4219451344857212</c:v>
                </c:pt>
                <c:pt idx="2285">
                  <c:v>6.4931440412353307</c:v>
                </c:pt>
                <c:pt idx="2286">
                  <c:v>6.6898447656508244</c:v>
                </c:pt>
                <c:pt idx="2287">
                  <c:v>6.8073658550909011</c:v>
                </c:pt>
                <c:pt idx="2288">
                  <c:v>6.8060993605549962</c:v>
                </c:pt>
                <c:pt idx="2289">
                  <c:v>6.8568281263294768</c:v>
                </c:pt>
                <c:pt idx="2290">
                  <c:v>6.9106780611143952</c:v>
                </c:pt>
                <c:pt idx="2291">
                  <c:v>7.0228690472749387</c:v>
                </c:pt>
                <c:pt idx="2292">
                  <c:v>7.0168925892588234</c:v>
                </c:pt>
                <c:pt idx="2293">
                  <c:v>6.9286179809855852</c:v>
                </c:pt>
                <c:pt idx="2294">
                  <c:v>6.727965312141504</c:v>
                </c:pt>
                <c:pt idx="2295">
                  <c:v>6.5051703574395612</c:v>
                </c:pt>
                <c:pt idx="2296">
                  <c:v>6.0795492875894892</c:v>
                </c:pt>
                <c:pt idx="2297">
                  <c:v>6.2130748305951311</c:v>
                </c:pt>
                <c:pt idx="2298">
                  <c:v>6.0123436247497501</c:v>
                </c:pt>
                <c:pt idx="2299">
                  <c:v>6.1424657147981918</c:v>
                </c:pt>
                <c:pt idx="2300">
                  <c:v>6.0610874939399615</c:v>
                </c:pt>
                <c:pt idx="2301">
                  <c:v>6.0973896808011405</c:v>
                </c:pt>
                <c:pt idx="2302">
                  <c:v>6.0973896808011396</c:v>
                </c:pt>
                <c:pt idx="2303">
                  <c:v>5.9174396451525366</c:v>
                </c:pt>
                <c:pt idx="2304">
                  <c:v>5.6811849176879923</c:v>
                </c:pt>
                <c:pt idx="2305">
                  <c:v>5.6811849176879923</c:v>
                </c:pt>
                <c:pt idx="2306">
                  <c:v>5.6811849176879923</c:v>
                </c:pt>
                <c:pt idx="2307">
                  <c:v>5.6442423109189601</c:v>
                </c:pt>
                <c:pt idx="2308">
                  <c:v>5.3456395378818353</c:v>
                </c:pt>
                <c:pt idx="2309">
                  <c:v>5.4830983773859057</c:v>
                </c:pt>
                <c:pt idx="2310">
                  <c:v>5.5733355331899084</c:v>
                </c:pt>
                <c:pt idx="2311">
                  <c:v>5.644242310918961</c:v>
                </c:pt>
                <c:pt idx="2312">
                  <c:v>5.817630753683745</c:v>
                </c:pt>
                <c:pt idx="2313">
                  <c:v>5.8411933908992486</c:v>
                </c:pt>
                <c:pt idx="2314">
                  <c:v>5.7571544695454273</c:v>
                </c:pt>
                <c:pt idx="2315">
                  <c:v>5.9346053137411801</c:v>
                </c:pt>
                <c:pt idx="2316">
                  <c:v>5.832922809856746</c:v>
                </c:pt>
                <c:pt idx="2317">
                  <c:v>5.9503694466582608</c:v>
                </c:pt>
                <c:pt idx="2318">
                  <c:v>5.9855189233356532</c:v>
                </c:pt>
                <c:pt idx="2319">
                  <c:v>5.9253012921115547</c:v>
                </c:pt>
                <c:pt idx="2320">
                  <c:v>5.8068528679384546</c:v>
                </c:pt>
                <c:pt idx="2321">
                  <c:v>5.8068528679384546</c:v>
                </c:pt>
                <c:pt idx="2322">
                  <c:v>6.0656371489719447</c:v>
                </c:pt>
                <c:pt idx="2323">
                  <c:v>5.869167439831787</c:v>
                </c:pt>
                <c:pt idx="2324">
                  <c:v>6.0883344267503912</c:v>
                </c:pt>
                <c:pt idx="2325">
                  <c:v>6.2363413972447423</c:v>
                </c:pt>
                <c:pt idx="2326">
                  <c:v>6.4620021095917179</c:v>
                </c:pt>
                <c:pt idx="2327">
                  <c:v>6.5586654095191497</c:v>
                </c:pt>
                <c:pt idx="2328">
                  <c:v>6.6089455225126672</c:v>
                </c:pt>
                <c:pt idx="2329">
                  <c:v>6.5144401934842229</c:v>
                </c:pt>
                <c:pt idx="2330">
                  <c:v>6.4899568742700495</c:v>
                </c:pt>
                <c:pt idx="2331">
                  <c:v>6.4758614569179445</c:v>
                </c:pt>
                <c:pt idx="2332">
                  <c:v>6.555597765952812</c:v>
                </c:pt>
                <c:pt idx="2333">
                  <c:v>6.5689097050152618</c:v>
                </c:pt>
                <c:pt idx="2334">
                  <c:v>6.6092933525975113</c:v>
                </c:pt>
                <c:pt idx="2335">
                  <c:v>6.7125718386960447</c:v>
                </c:pt>
                <c:pt idx="2336">
                  <c:v>6.9029395704035892</c:v>
                </c:pt>
                <c:pt idx="2337">
                  <c:v>7.0254872617041864</c:v>
                </c:pt>
                <c:pt idx="2338">
                  <c:v>7.1483460027276697</c:v>
                </c:pt>
                <c:pt idx="2339">
                  <c:v>6.9896475171351167</c:v>
                </c:pt>
                <c:pt idx="2340">
                  <c:v>6.8800060144320154</c:v>
                </c:pt>
                <c:pt idx="2341">
                  <c:v>6.7196743216100705</c:v>
                </c:pt>
                <c:pt idx="2342">
                  <c:v>6.6003308868640795</c:v>
                </c:pt>
                <c:pt idx="2343">
                  <c:v>6.6037258727402399</c:v>
                </c:pt>
                <c:pt idx="2344">
                  <c:v>6.7606875798045971</c:v>
                </c:pt>
                <c:pt idx="2345">
                  <c:v>6.5555977659528137</c:v>
                </c:pt>
                <c:pt idx="2346">
                  <c:v>6.6627287220018578</c:v>
                </c:pt>
                <c:pt idx="2347">
                  <c:v>6.5985020940405468</c:v>
                </c:pt>
                <c:pt idx="2348">
                  <c:v>6.5636582174426401</c:v>
                </c:pt>
                <c:pt idx="2349">
                  <c:v>6.7908830025279467</c:v>
                </c:pt>
                <c:pt idx="2350">
                  <c:v>7.0205773086781438</c:v>
                </c:pt>
                <c:pt idx="2351">
                  <c:v>6.923639332691689</c:v>
                </c:pt>
                <c:pt idx="2352">
                  <c:v>6.7042618114734767</c:v>
                </c:pt>
                <c:pt idx="2353">
                  <c:v>6.6888997084980151</c:v>
                </c:pt>
                <c:pt idx="2354">
                  <c:v>6.6142479438004873</c:v>
                </c:pt>
                <c:pt idx="2355">
                  <c:v>6.4054574432643969</c:v>
                </c:pt>
                <c:pt idx="2356">
                  <c:v>6.2913916739782056</c:v>
                </c:pt>
                <c:pt idx="2357">
                  <c:v>6.338080495529864</c:v>
                </c:pt>
                <c:pt idx="2358">
                  <c:v>6.2881022482985651</c:v>
                </c:pt>
                <c:pt idx="2359">
                  <c:v>6.2061334141333919</c:v>
                </c:pt>
                <c:pt idx="2360">
                  <c:v>6.4076104176492983</c:v>
                </c:pt>
                <c:pt idx="2361">
                  <c:v>6.4256132584467327</c:v>
                </c:pt>
                <c:pt idx="2362">
                  <c:v>6.3543812381332803</c:v>
                </c:pt>
                <c:pt idx="2363">
                  <c:v>6.4097626688719433</c:v>
                </c:pt>
                <c:pt idx="2364">
                  <c:v>6.4899568742700495</c:v>
                </c:pt>
                <c:pt idx="2365">
                  <c:v>6.4094936769921453</c:v>
                </c:pt>
                <c:pt idx="2366">
                  <c:v>6.223887981735805</c:v>
                </c:pt>
                <c:pt idx="2367">
                  <c:v>6.1158358607685077</c:v>
                </c:pt>
                <c:pt idx="2368">
                  <c:v>6.0894670699004774</c:v>
                </c:pt>
                <c:pt idx="2369">
                  <c:v>6.0894670699004774</c:v>
                </c:pt>
                <c:pt idx="2370">
                  <c:v>6.0599495464687756</c:v>
                </c:pt>
                <c:pt idx="2371">
                  <c:v>6.0409521971520244</c:v>
                </c:pt>
                <c:pt idx="2372">
                  <c:v>5.9670689060919395</c:v>
                </c:pt>
                <c:pt idx="2373">
                  <c:v>5.9960304329098397</c:v>
                </c:pt>
                <c:pt idx="2374">
                  <c:v>5.7892719331250548</c:v>
                </c:pt>
                <c:pt idx="2375">
                  <c:v>5.8918457340502526</c:v>
                </c:pt>
                <c:pt idx="2376">
                  <c:v>5.8380932960456651</c:v>
                </c:pt>
                <c:pt idx="2377">
                  <c:v>5.7854139430773337</c:v>
                </c:pt>
                <c:pt idx="2378">
                  <c:v>5.9120697873046506</c:v>
                </c:pt>
                <c:pt idx="2379">
                  <c:v>5.5267942376620605</c:v>
                </c:pt>
                <c:pt idx="2380">
                  <c:v>5.3224591523628844</c:v>
                </c:pt>
                <c:pt idx="2381">
                  <c:v>5.4192638847570045</c:v>
                </c:pt>
                <c:pt idx="2382">
                  <c:v>5.5625102667623239</c:v>
                </c:pt>
                <c:pt idx="2383">
                  <c:v>5.7189056954054749</c:v>
                </c:pt>
                <c:pt idx="2384">
                  <c:v>5.3039940555374363</c:v>
                </c:pt>
                <c:pt idx="2385">
                  <c:v>5.4757039121316025</c:v>
                </c:pt>
                <c:pt idx="2386">
                  <c:v>5.5908087838114149</c:v>
                </c:pt>
                <c:pt idx="2387">
                  <c:v>5.2503270437120459</c:v>
                </c:pt>
                <c:pt idx="2388">
                  <c:v>5.3792097408353063</c:v>
                </c:pt>
                <c:pt idx="2389">
                  <c:v>5.4411451557609274</c:v>
                </c:pt>
                <c:pt idx="2390">
                  <c:v>5.0290067698213612</c:v>
                </c:pt>
                <c:pt idx="2391">
                  <c:v>5.2025634707004453</c:v>
                </c:pt>
                <c:pt idx="2392">
                  <c:v>5.0110987927909694</c:v>
                </c:pt>
                <c:pt idx="2393">
                  <c:v>4.8088460154178359</c:v>
                </c:pt>
                <c:pt idx="2394">
                  <c:v>4.3861253103502689</c:v>
                </c:pt>
                <c:pt idx="2395">
                  <c:v>4.6761807778000488</c:v>
                </c:pt>
                <c:pt idx="2396">
                  <c:v>5.1478150704935004</c:v>
                </c:pt>
                <c:pt idx="2397">
                  <c:v>5.3541261347363367</c:v>
                </c:pt>
                <c:pt idx="2398">
                  <c:v>0.57735026918962573</c:v>
                </c:pt>
                <c:pt idx="2399">
                  <c:v>0.70710678118654757</c:v>
                </c:pt>
              </c:numCache>
            </c:numRef>
          </c:val>
          <c:smooth val="0"/>
          <c:extLst>
            <c:ext xmlns:c16="http://schemas.microsoft.com/office/drawing/2014/chart" uri="{C3380CC4-5D6E-409C-BE32-E72D297353CC}">
              <c16:uniqueId val="{00000002-502A-4D47-98A0-26375414C71F}"/>
            </c:ext>
          </c:extLst>
        </c:ser>
        <c:ser>
          <c:idx val="4"/>
          <c:order val="3"/>
          <c:tx>
            <c:strRef>
              <c:f>'DRT Rolling Stdev'!$G$1</c:f>
              <c:strCache>
                <c:ptCount val="1"/>
                <c:pt idx="0">
                  <c:v>Ambient Temperature</c:v>
                </c:pt>
              </c:strCache>
            </c:strRef>
          </c:tx>
          <c:spPr>
            <a:ln w="28575" cap="rnd">
              <a:solidFill>
                <a:schemeClr val="accent5"/>
              </a:solidFill>
              <a:round/>
            </a:ln>
            <a:effectLst/>
          </c:spPr>
          <c:marker>
            <c:symbol val="none"/>
          </c:marker>
          <c:val>
            <c:numRef>
              <c:f>'DRT Rolling Stdev'!$G$2:$G$2454</c:f>
              <c:numCache>
                <c:formatCode>#,##0.00</c:formatCode>
                <c:ptCount val="2401"/>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24.967196869897709</c:v>
                </c:pt>
                <c:pt idx="2254">
                  <c:v>25.207187444270232</c:v>
                </c:pt>
                <c:pt idx="2255">
                  <c:v>25.275971052437889</c:v>
                </c:pt>
                <c:pt idx="2256">
                  <c:v>25.287223615116776</c:v>
                </c:pt>
                <c:pt idx="2257">
                  <c:v>25.034436053279634</c:v>
                </c:pt>
                <c:pt idx="2258">
                  <c:v>24.745160910888153</c:v>
                </c:pt>
                <c:pt idx="2259">
                  <c:v>24.126319867415081</c:v>
                </c:pt>
                <c:pt idx="2260">
                  <c:v>23.487340684159907</c:v>
                </c:pt>
                <c:pt idx="2261">
                  <c:v>22.678158006652847</c:v>
                </c:pt>
                <c:pt idx="2262">
                  <c:v>21.689263194747639</c:v>
                </c:pt>
                <c:pt idx="2263">
                  <c:v>20.535055533090883</c:v>
                </c:pt>
                <c:pt idx="2264">
                  <c:v>19.162613264542934</c:v>
                </c:pt>
                <c:pt idx="2265">
                  <c:v>17.534858549980264</c:v>
                </c:pt>
                <c:pt idx="2266">
                  <c:v>15.597818886722225</c:v>
                </c:pt>
                <c:pt idx="2267">
                  <c:v>13.069267275805359</c:v>
                </c:pt>
                <c:pt idx="2268">
                  <c:v>9.6444850538544955</c:v>
                </c:pt>
                <c:pt idx="2269">
                  <c:v>3.0439312149553097</c:v>
                </c:pt>
                <c:pt idx="2270">
                  <c:v>2.9952068989998155</c:v>
                </c:pt>
                <c:pt idx="2271">
                  <c:v>2.8424127682002118</c:v>
                </c:pt>
                <c:pt idx="2272">
                  <c:v>2.9205966954496243</c:v>
                </c:pt>
                <c:pt idx="2273">
                  <c:v>2.9780808446449845</c:v>
                </c:pt>
                <c:pt idx="2274">
                  <c:v>2.9780808446449845</c:v>
                </c:pt>
                <c:pt idx="2275">
                  <c:v>2.9290459786127601</c:v>
                </c:pt>
                <c:pt idx="2276">
                  <c:v>2.9487967544153624</c:v>
                </c:pt>
                <c:pt idx="2277">
                  <c:v>2.9680288749098862</c:v>
                </c:pt>
                <c:pt idx="2278">
                  <c:v>2.7852237368598982</c:v>
                </c:pt>
                <c:pt idx="2279">
                  <c:v>2.7636807041485016</c:v>
                </c:pt>
                <c:pt idx="2280">
                  <c:v>2.7240942816232359</c:v>
                </c:pt>
                <c:pt idx="2281">
                  <c:v>2.7584770077524392</c:v>
                </c:pt>
                <c:pt idx="2282">
                  <c:v>2.944701065951532</c:v>
                </c:pt>
                <c:pt idx="2283">
                  <c:v>2.8976804040711479</c:v>
                </c:pt>
                <c:pt idx="2284">
                  <c:v>2.8367457476449327</c:v>
                </c:pt>
                <c:pt idx="2285">
                  <c:v>2.8276142415206813</c:v>
                </c:pt>
                <c:pt idx="2286">
                  <c:v>2.8397830579274808</c:v>
                </c:pt>
                <c:pt idx="2287">
                  <c:v>2.9300268721061866</c:v>
                </c:pt>
                <c:pt idx="2288">
                  <c:v>2.8326909346122608</c:v>
                </c:pt>
                <c:pt idx="2289">
                  <c:v>2.8326909346122608</c:v>
                </c:pt>
                <c:pt idx="2290">
                  <c:v>2.9243331099467849</c:v>
                </c:pt>
                <c:pt idx="2291">
                  <c:v>3.0141429082351698</c:v>
                </c:pt>
                <c:pt idx="2292">
                  <c:v>3.086678831186775</c:v>
                </c:pt>
                <c:pt idx="2293">
                  <c:v>3.1249827585731271</c:v>
                </c:pt>
                <c:pt idx="2294">
                  <c:v>3.1374636509319975</c:v>
                </c:pt>
                <c:pt idx="2295">
                  <c:v>3.1369140703974456</c:v>
                </c:pt>
                <c:pt idx="2296">
                  <c:v>3.0926312124293056</c:v>
                </c:pt>
                <c:pt idx="2297">
                  <c:v>3.1579128856102807</c:v>
                </c:pt>
                <c:pt idx="2298">
                  <c:v>3.1579128856102807</c:v>
                </c:pt>
                <c:pt idx="2299">
                  <c:v>3.3002960508094583</c:v>
                </c:pt>
                <c:pt idx="2300">
                  <c:v>3.3060376672795586</c:v>
                </c:pt>
                <c:pt idx="2301">
                  <c:v>3.3543589757107144</c:v>
                </c:pt>
                <c:pt idx="2302">
                  <c:v>3.3046466762987556</c:v>
                </c:pt>
                <c:pt idx="2303">
                  <c:v>3.2334459039534131</c:v>
                </c:pt>
                <c:pt idx="2304">
                  <c:v>3.1227750700188177</c:v>
                </c:pt>
                <c:pt idx="2305">
                  <c:v>3.1347147847306935</c:v>
                </c:pt>
                <c:pt idx="2306">
                  <c:v>3.1659103755076714</c:v>
                </c:pt>
                <c:pt idx="2307">
                  <c:v>3.1200132625712813</c:v>
                </c:pt>
                <c:pt idx="2308">
                  <c:v>3.1775071556391383</c:v>
                </c:pt>
                <c:pt idx="2309">
                  <c:v>3.3107279471786693</c:v>
                </c:pt>
                <c:pt idx="2310">
                  <c:v>3.4314301163914385</c:v>
                </c:pt>
                <c:pt idx="2311">
                  <c:v>3.4489711942622217</c:v>
                </c:pt>
                <c:pt idx="2312">
                  <c:v>3.4072269373052992</c:v>
                </c:pt>
                <c:pt idx="2313">
                  <c:v>3.4799920729200249</c:v>
                </c:pt>
                <c:pt idx="2314">
                  <c:v>3.5095927654516199</c:v>
                </c:pt>
                <c:pt idx="2315">
                  <c:v>3.5010671607908082</c:v>
                </c:pt>
                <c:pt idx="2316">
                  <c:v>3.4534673563838996</c:v>
                </c:pt>
                <c:pt idx="2317">
                  <c:v>3.3589817833220921</c:v>
                </c:pt>
                <c:pt idx="2318">
                  <c:v>3.4154819925420936</c:v>
                </c:pt>
                <c:pt idx="2319">
                  <c:v>3.3500729105121168</c:v>
                </c:pt>
                <c:pt idx="2320">
                  <c:v>3.2730175187677988</c:v>
                </c:pt>
                <c:pt idx="2321">
                  <c:v>3.2021903423290978</c:v>
                </c:pt>
                <c:pt idx="2322">
                  <c:v>3.1413080224572094</c:v>
                </c:pt>
                <c:pt idx="2323">
                  <c:v>3.0567430642629319</c:v>
                </c:pt>
                <c:pt idx="2324">
                  <c:v>3.0285993120753774</c:v>
                </c:pt>
                <c:pt idx="2325">
                  <c:v>3.0454412888246849</c:v>
                </c:pt>
                <c:pt idx="2326">
                  <c:v>3.1697202458232199</c:v>
                </c:pt>
                <c:pt idx="2327">
                  <c:v>3.0904004129956482</c:v>
                </c:pt>
                <c:pt idx="2328">
                  <c:v>3.0904004129956486</c:v>
                </c:pt>
                <c:pt idx="2329">
                  <c:v>3.0227109701715444</c:v>
                </c:pt>
                <c:pt idx="2330">
                  <c:v>3.1111590034627907</c:v>
                </c:pt>
                <c:pt idx="2331">
                  <c:v>3.2091822283430154</c:v>
                </c:pt>
                <c:pt idx="2332">
                  <c:v>3.2668660506827409</c:v>
                </c:pt>
                <c:pt idx="2333">
                  <c:v>3.2668660506827409</c:v>
                </c:pt>
                <c:pt idx="2334">
                  <c:v>3.2968114166936187</c:v>
                </c:pt>
                <c:pt idx="2335">
                  <c:v>3.2652823714829387</c:v>
                </c:pt>
                <c:pt idx="2336">
                  <c:v>3.2455097185701547</c:v>
                </c:pt>
                <c:pt idx="2337">
                  <c:v>3.1941037632761269</c:v>
                </c:pt>
                <c:pt idx="2338">
                  <c:v>3.3294229937429645</c:v>
                </c:pt>
                <c:pt idx="2339">
                  <c:v>3.3294229937429645</c:v>
                </c:pt>
                <c:pt idx="2340">
                  <c:v>3.2199093297721948</c:v>
                </c:pt>
                <c:pt idx="2341">
                  <c:v>3.1522661069769158</c:v>
                </c:pt>
                <c:pt idx="2342">
                  <c:v>3.1176177170854444</c:v>
                </c:pt>
                <c:pt idx="2343">
                  <c:v>2.9674479146965291</c:v>
                </c:pt>
                <c:pt idx="2344">
                  <c:v>3.0217601630107271</c:v>
                </c:pt>
                <c:pt idx="2345">
                  <c:v>3.1176177170854444</c:v>
                </c:pt>
                <c:pt idx="2346">
                  <c:v>3.0680032069997774</c:v>
                </c:pt>
                <c:pt idx="2347">
                  <c:v>3.0904004129956486</c:v>
                </c:pt>
                <c:pt idx="2348">
                  <c:v>3.0859339762456242</c:v>
                </c:pt>
                <c:pt idx="2349">
                  <c:v>3.1332477366640425</c:v>
                </c:pt>
                <c:pt idx="2350">
                  <c:v>3.1615506162088525</c:v>
                </c:pt>
                <c:pt idx="2351">
                  <c:v>3.1856358646381677</c:v>
                </c:pt>
                <c:pt idx="2352">
                  <c:v>3.1905031491643427</c:v>
                </c:pt>
                <c:pt idx="2353">
                  <c:v>3.1905031491643427</c:v>
                </c:pt>
                <c:pt idx="2354">
                  <c:v>3.2976829204273361</c:v>
                </c:pt>
                <c:pt idx="2355">
                  <c:v>3.3930286880839842</c:v>
                </c:pt>
                <c:pt idx="2356">
                  <c:v>3.3680377315166079</c:v>
                </c:pt>
                <c:pt idx="2357">
                  <c:v>3.4139672543527864</c:v>
                </c:pt>
                <c:pt idx="2358">
                  <c:v>3.4087446706793778</c:v>
                </c:pt>
                <c:pt idx="2359">
                  <c:v>3.4087446706793778</c:v>
                </c:pt>
                <c:pt idx="2360">
                  <c:v>3.3294229937429645</c:v>
                </c:pt>
                <c:pt idx="2361">
                  <c:v>3.3495582141358669</c:v>
                </c:pt>
                <c:pt idx="2362">
                  <c:v>3.3850584470072551</c:v>
                </c:pt>
                <c:pt idx="2363">
                  <c:v>3.2842361207062636</c:v>
                </c:pt>
                <c:pt idx="2364">
                  <c:v>3.2640500897666613</c:v>
                </c:pt>
                <c:pt idx="2365">
                  <c:v>3.2414343355564275</c:v>
                </c:pt>
                <c:pt idx="2366">
                  <c:v>3.2688006166275065</c:v>
                </c:pt>
                <c:pt idx="2367">
                  <c:v>3.2270409206343009</c:v>
                </c:pt>
                <c:pt idx="2368">
                  <c:v>3.0249916880288579</c:v>
                </c:pt>
                <c:pt idx="2369">
                  <c:v>2.9651229355607671</c:v>
                </c:pt>
                <c:pt idx="2370">
                  <c:v>2.9651229355607667</c:v>
                </c:pt>
                <c:pt idx="2371">
                  <c:v>3.0842573949268433</c:v>
                </c:pt>
                <c:pt idx="2372">
                  <c:v>3.046438605542527</c:v>
                </c:pt>
                <c:pt idx="2373">
                  <c:v>3.0952686201181048</c:v>
                </c:pt>
                <c:pt idx="2374">
                  <c:v>3.0569150044987108</c:v>
                </c:pt>
                <c:pt idx="2375">
                  <c:v>3.0553861646909075</c:v>
                </c:pt>
                <c:pt idx="2376">
                  <c:v>3.1134118476894979</c:v>
                </c:pt>
                <c:pt idx="2377">
                  <c:v>3.1207579904219758</c:v>
                </c:pt>
                <c:pt idx="2378">
                  <c:v>3.1610275009338467</c:v>
                </c:pt>
                <c:pt idx="2379">
                  <c:v>3.1153856431632505</c:v>
                </c:pt>
                <c:pt idx="2380">
                  <c:v>3.0519314727375049</c:v>
                </c:pt>
                <c:pt idx="2381">
                  <c:v>2.87411313552363</c:v>
                </c:pt>
                <c:pt idx="2382">
                  <c:v>2.4920927582635191</c:v>
                </c:pt>
                <c:pt idx="2383">
                  <c:v>2.5546318307829945</c:v>
                </c:pt>
                <c:pt idx="2384">
                  <c:v>2.5796146543051504</c:v>
                </c:pt>
                <c:pt idx="2385">
                  <c:v>2.6004807247891688</c:v>
                </c:pt>
                <c:pt idx="2386">
                  <c:v>2.6672618383439062</c:v>
                </c:pt>
                <c:pt idx="2387">
                  <c:v>2.5901334345533646</c:v>
                </c:pt>
                <c:pt idx="2388">
                  <c:v>2.665063620734804</c:v>
                </c:pt>
                <c:pt idx="2389">
                  <c:v>2.7413776673693677</c:v>
                </c:pt>
                <c:pt idx="2390">
                  <c:v>2.7699688216164584</c:v>
                </c:pt>
                <c:pt idx="2391">
                  <c:v>2.6583202716502514</c:v>
                </c:pt>
                <c:pt idx="2392">
                  <c:v>2.438123139721299</c:v>
                </c:pt>
                <c:pt idx="2393">
                  <c:v>2.5071326821120348</c:v>
                </c:pt>
                <c:pt idx="2394">
                  <c:v>2.5634797778466232</c:v>
                </c:pt>
                <c:pt idx="2395">
                  <c:v>2.8047578623950176</c:v>
                </c:pt>
                <c:pt idx="2396">
                  <c:v>2.5495097567963922</c:v>
                </c:pt>
                <c:pt idx="2397">
                  <c:v>2.6457513110645907</c:v>
                </c:pt>
                <c:pt idx="2398">
                  <c:v>2.5166114784235831</c:v>
                </c:pt>
                <c:pt idx="2399">
                  <c:v>3.5355339059327378</c:v>
                </c:pt>
              </c:numCache>
            </c:numRef>
          </c:val>
          <c:smooth val="0"/>
          <c:extLst>
            <c:ext xmlns:c16="http://schemas.microsoft.com/office/drawing/2014/chart" uri="{C3380CC4-5D6E-409C-BE32-E72D297353CC}">
              <c16:uniqueId val="{00000003-502A-4D47-98A0-26375414C71F}"/>
            </c:ext>
          </c:extLst>
        </c:ser>
        <c:ser>
          <c:idx val="6"/>
          <c:order val="5"/>
          <c:tx>
            <c:strRef>
              <c:f>'DRT Rolling Stdev'!$I$1</c:f>
              <c:strCache>
                <c:ptCount val="1"/>
                <c:pt idx="0">
                  <c:v>Pump Efficiency</c:v>
                </c:pt>
              </c:strCache>
            </c:strRef>
          </c:tx>
          <c:spPr>
            <a:ln w="28575" cap="rnd">
              <a:solidFill>
                <a:schemeClr val="accent1">
                  <a:lumMod val="60000"/>
                </a:schemeClr>
              </a:solidFill>
              <a:round/>
            </a:ln>
            <a:effectLst/>
          </c:spPr>
          <c:marker>
            <c:symbol val="none"/>
          </c:marker>
          <c:val>
            <c:numRef>
              <c:f>'DRT Rolling Stdev'!$I$2:$I$2454</c:f>
              <c:numCache>
                <c:formatCode>#,##0.00</c:formatCode>
                <c:ptCount val="2401"/>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39.145379968391708</c:v>
                </c:pt>
                <c:pt idx="2254">
                  <c:v>39.14246257168228</c:v>
                </c:pt>
                <c:pt idx="2255">
                  <c:v>38.988232976499567</c:v>
                </c:pt>
                <c:pt idx="2256">
                  <c:v>38.737139382149927</c:v>
                </c:pt>
                <c:pt idx="2257">
                  <c:v>38.25119479566991</c:v>
                </c:pt>
                <c:pt idx="2258">
                  <c:v>37.584304699204125</c:v>
                </c:pt>
                <c:pt idx="2259">
                  <c:v>36.766108299400315</c:v>
                </c:pt>
                <c:pt idx="2260">
                  <c:v>35.689118693552054</c:v>
                </c:pt>
                <c:pt idx="2261">
                  <c:v>34.423860144388641</c:v>
                </c:pt>
                <c:pt idx="2262">
                  <c:v>32.937789088420111</c:v>
                </c:pt>
                <c:pt idx="2263">
                  <c:v>31.183718096823657</c:v>
                </c:pt>
                <c:pt idx="2264">
                  <c:v>29.017499749737865</c:v>
                </c:pt>
                <c:pt idx="2265">
                  <c:v>26.447222806683826</c:v>
                </c:pt>
                <c:pt idx="2266">
                  <c:v>23.326793820944431</c:v>
                </c:pt>
                <c:pt idx="2267">
                  <c:v>19.418407592643312</c:v>
                </c:pt>
                <c:pt idx="2268">
                  <c:v>14.055336214728294</c:v>
                </c:pt>
                <c:pt idx="2269">
                  <c:v>2.0259683917536599</c:v>
                </c:pt>
                <c:pt idx="2270">
                  <c:v>2.0097345503467392</c:v>
                </c:pt>
                <c:pt idx="2271">
                  <c:v>2.0194761775118684</c:v>
                </c:pt>
                <c:pt idx="2272">
                  <c:v>2.0481103390351172</c:v>
                </c:pt>
                <c:pt idx="2273">
                  <c:v>2.069453224554215</c:v>
                </c:pt>
                <c:pt idx="2274">
                  <c:v>2.0649891303086703</c:v>
                </c:pt>
                <c:pt idx="2275">
                  <c:v>2.0588857530991413</c:v>
                </c:pt>
                <c:pt idx="2276">
                  <c:v>2.0134485619498066</c:v>
                </c:pt>
                <c:pt idx="2277">
                  <c:v>2.0117561766801071</c:v>
                </c:pt>
                <c:pt idx="2278">
                  <c:v>2.0789567061475585</c:v>
                </c:pt>
                <c:pt idx="2279">
                  <c:v>2.1251863948560281</c:v>
                </c:pt>
                <c:pt idx="2280">
                  <c:v>2.1593447246730668</c:v>
                </c:pt>
                <c:pt idx="2281">
                  <c:v>2.1338420833481608</c:v>
                </c:pt>
                <c:pt idx="2282">
                  <c:v>2.0628413716415293</c:v>
                </c:pt>
                <c:pt idx="2283">
                  <c:v>1.9674740933415074</c:v>
                </c:pt>
                <c:pt idx="2284">
                  <c:v>1.9461120579531812</c:v>
                </c:pt>
                <c:pt idx="2285">
                  <c:v>2.0360707544268686</c:v>
                </c:pt>
                <c:pt idx="2286">
                  <c:v>2.0611143266453253</c:v>
                </c:pt>
                <c:pt idx="2287">
                  <c:v>2.1356317472840676</c:v>
                </c:pt>
                <c:pt idx="2288">
                  <c:v>2.2111027557757743</c:v>
                </c:pt>
                <c:pt idx="2289">
                  <c:v>2.2903454216908434</c:v>
                </c:pt>
                <c:pt idx="2290">
                  <c:v>2.2516185031922142</c:v>
                </c:pt>
                <c:pt idx="2291">
                  <c:v>2.3202673430802498</c:v>
                </c:pt>
                <c:pt idx="2292">
                  <c:v>2.3389889254766514</c:v>
                </c:pt>
                <c:pt idx="2293">
                  <c:v>2.3742970741613685</c:v>
                </c:pt>
                <c:pt idx="2294">
                  <c:v>2.3246782167920022</c:v>
                </c:pt>
                <c:pt idx="2295">
                  <c:v>2.3192583399977038</c:v>
                </c:pt>
                <c:pt idx="2296">
                  <c:v>2.2283819130510873</c:v>
                </c:pt>
                <c:pt idx="2297">
                  <c:v>2.3026691406851865</c:v>
                </c:pt>
                <c:pt idx="2298">
                  <c:v>2.2911429447244114</c:v>
                </c:pt>
                <c:pt idx="2299">
                  <c:v>2.285197637331243</c:v>
                </c:pt>
                <c:pt idx="2300">
                  <c:v>2.3035226883861086</c:v>
                </c:pt>
                <c:pt idx="2301">
                  <c:v>2.3099360797855373</c:v>
                </c:pt>
                <c:pt idx="2302">
                  <c:v>2.3006606078363432</c:v>
                </c:pt>
                <c:pt idx="2303">
                  <c:v>2.2830660556825877</c:v>
                </c:pt>
                <c:pt idx="2304">
                  <c:v>2.2808774241246388</c:v>
                </c:pt>
                <c:pt idx="2305">
                  <c:v>2.2561564339113258</c:v>
                </c:pt>
                <c:pt idx="2306">
                  <c:v>2.2326642355438797</c:v>
                </c:pt>
                <c:pt idx="2307">
                  <c:v>2.3087941951392494</c:v>
                </c:pt>
                <c:pt idx="2308">
                  <c:v>2.2363085006498644</c:v>
                </c:pt>
                <c:pt idx="2309">
                  <c:v>2.1697856995452738</c:v>
                </c:pt>
                <c:pt idx="2310">
                  <c:v>2.1522231751845045</c:v>
                </c:pt>
                <c:pt idx="2311">
                  <c:v>2.1887753932388914</c:v>
                </c:pt>
                <c:pt idx="2312">
                  <c:v>2.1787529844622409</c:v>
                </c:pt>
                <c:pt idx="2313">
                  <c:v>2.1822922682421884</c:v>
                </c:pt>
                <c:pt idx="2314">
                  <c:v>2.2267511811261098</c:v>
                </c:pt>
                <c:pt idx="2315">
                  <c:v>2.1485560176447662</c:v>
                </c:pt>
                <c:pt idx="2316">
                  <c:v>2.1602166454230729</c:v>
                </c:pt>
                <c:pt idx="2317">
                  <c:v>2.0664729008225002</c:v>
                </c:pt>
                <c:pt idx="2318">
                  <c:v>2.1055991164994912</c:v>
                </c:pt>
                <c:pt idx="2319">
                  <c:v>2.1117804348276077</c:v>
                </c:pt>
                <c:pt idx="2320">
                  <c:v>2.1530408001232453</c:v>
                </c:pt>
                <c:pt idx="2321">
                  <c:v>2.1307671644348929</c:v>
                </c:pt>
                <c:pt idx="2322">
                  <c:v>2.1350349143947116</c:v>
                </c:pt>
                <c:pt idx="2323">
                  <c:v>2.0939264040777394</c:v>
                </c:pt>
                <c:pt idx="2324">
                  <c:v>2.1344136145798744</c:v>
                </c:pt>
                <c:pt idx="2325">
                  <c:v>2.1727488270770605</c:v>
                </c:pt>
                <c:pt idx="2326">
                  <c:v>2.1816872130667098</c:v>
                </c:pt>
                <c:pt idx="2327">
                  <c:v>2.17202443129481</c:v>
                </c:pt>
                <c:pt idx="2328">
                  <c:v>2.2470828222878967</c:v>
                </c:pt>
                <c:pt idx="2329">
                  <c:v>2.2775133722186052</c:v>
                </c:pt>
                <c:pt idx="2330">
                  <c:v>2.2432267196390305</c:v>
                </c:pt>
                <c:pt idx="2331">
                  <c:v>2.2321135205226574</c:v>
                </c:pt>
                <c:pt idx="2332">
                  <c:v>2.2271395264373175</c:v>
                </c:pt>
                <c:pt idx="2333">
                  <c:v>2.1969714120989243</c:v>
                </c:pt>
                <c:pt idx="2334">
                  <c:v>2.1734451842275733</c:v>
                </c:pt>
                <c:pt idx="2335">
                  <c:v>2.2338310880443846</c:v>
                </c:pt>
                <c:pt idx="2336">
                  <c:v>2.2308939065550724</c:v>
                </c:pt>
                <c:pt idx="2337">
                  <c:v>2.1167059765417533</c:v>
                </c:pt>
                <c:pt idx="2338">
                  <c:v>2.1523633514302882</c:v>
                </c:pt>
                <c:pt idx="2339">
                  <c:v>2.1373884467009772</c:v>
                </c:pt>
                <c:pt idx="2340">
                  <c:v>2.1537716690480093</c:v>
                </c:pt>
                <c:pt idx="2341">
                  <c:v>2.1282982997015694</c:v>
                </c:pt>
                <c:pt idx="2342">
                  <c:v>2.1251519763042945</c:v>
                </c:pt>
                <c:pt idx="2343">
                  <c:v>2.1204909357699311</c:v>
                </c:pt>
                <c:pt idx="2344">
                  <c:v>2.0777332351866593</c:v>
                </c:pt>
                <c:pt idx="2345">
                  <c:v>2.1877280635364169</c:v>
                </c:pt>
                <c:pt idx="2346">
                  <c:v>2.1599105632209237</c:v>
                </c:pt>
                <c:pt idx="2347">
                  <c:v>2.1408661062757921</c:v>
                </c:pt>
                <c:pt idx="2348">
                  <c:v>2.0787919305613802</c:v>
                </c:pt>
                <c:pt idx="2349">
                  <c:v>2.0976771114253623</c:v>
                </c:pt>
                <c:pt idx="2350">
                  <c:v>2.0588363843511845</c:v>
                </c:pt>
                <c:pt idx="2351">
                  <c:v>2.0781227325122207</c:v>
                </c:pt>
                <c:pt idx="2352">
                  <c:v>2.0283433827887465</c:v>
                </c:pt>
                <c:pt idx="2353">
                  <c:v>2.0053527685716004</c:v>
                </c:pt>
                <c:pt idx="2354">
                  <c:v>1.9649765154764789</c:v>
                </c:pt>
                <c:pt idx="2355">
                  <c:v>1.8938844046353571</c:v>
                </c:pt>
                <c:pt idx="2356">
                  <c:v>1.91704825192012</c:v>
                </c:pt>
                <c:pt idx="2357">
                  <c:v>1.8441943800914116</c:v>
                </c:pt>
                <c:pt idx="2358">
                  <c:v>1.7744244481414408</c:v>
                </c:pt>
                <c:pt idx="2359">
                  <c:v>1.7093358947561843</c:v>
                </c:pt>
                <c:pt idx="2360">
                  <c:v>1.7504482727304138</c:v>
                </c:pt>
                <c:pt idx="2361">
                  <c:v>1.7704218323396297</c:v>
                </c:pt>
                <c:pt idx="2362">
                  <c:v>1.6884168327634392</c:v>
                </c:pt>
                <c:pt idx="2363">
                  <c:v>1.6943988213585428</c:v>
                </c:pt>
                <c:pt idx="2364">
                  <c:v>1.6962376014491489</c:v>
                </c:pt>
                <c:pt idx="2365">
                  <c:v>1.6270352943774158</c:v>
                </c:pt>
                <c:pt idx="2366">
                  <c:v>1.6477496593441943</c:v>
                </c:pt>
                <c:pt idx="2367">
                  <c:v>1.5657744610166304</c:v>
                </c:pt>
                <c:pt idx="2368">
                  <c:v>1.5536656905492674</c:v>
                </c:pt>
                <c:pt idx="2369">
                  <c:v>1.5761074685887018</c:v>
                </c:pt>
                <c:pt idx="2370">
                  <c:v>1.5601556603206332</c:v>
                </c:pt>
                <c:pt idx="2371">
                  <c:v>1.5479340856458721</c:v>
                </c:pt>
                <c:pt idx="2372">
                  <c:v>1.5657158190862328</c:v>
                </c:pt>
                <c:pt idx="2373">
                  <c:v>1.5691458581141864</c:v>
                </c:pt>
                <c:pt idx="2374">
                  <c:v>1.5963987868546208</c:v>
                </c:pt>
                <c:pt idx="2375">
                  <c:v>1.5179745262778566</c:v>
                </c:pt>
                <c:pt idx="2376">
                  <c:v>1.5428944928211921</c:v>
                </c:pt>
                <c:pt idx="2377">
                  <c:v>1.5753483303572955</c:v>
                </c:pt>
                <c:pt idx="2378">
                  <c:v>1.5690940026925095</c:v>
                </c:pt>
                <c:pt idx="2379">
                  <c:v>1.4505740746851299</c:v>
                </c:pt>
                <c:pt idx="2380">
                  <c:v>1.4851938815524623</c:v>
                </c:pt>
                <c:pt idx="2381">
                  <c:v>1.3743727265463883</c:v>
                </c:pt>
                <c:pt idx="2382">
                  <c:v>1.4113961353195745</c:v>
                </c:pt>
                <c:pt idx="2383">
                  <c:v>1.4482920388682989</c:v>
                </c:pt>
                <c:pt idx="2384">
                  <c:v>1.4928601750290116</c:v>
                </c:pt>
                <c:pt idx="2385">
                  <c:v>1.4830683516066234</c:v>
                </c:pt>
                <c:pt idx="2386">
                  <c:v>1.4129919467700967</c:v>
                </c:pt>
                <c:pt idx="2387">
                  <c:v>1.447789003242937</c:v>
                </c:pt>
                <c:pt idx="2388">
                  <c:v>1.388004493447049</c:v>
                </c:pt>
                <c:pt idx="2389">
                  <c:v>1.4491731020445606</c:v>
                </c:pt>
                <c:pt idx="2390">
                  <c:v>1.3845297449226237</c:v>
                </c:pt>
                <c:pt idx="2391">
                  <c:v>1.239947272198648</c:v>
                </c:pt>
                <c:pt idx="2392">
                  <c:v>1.3147604501666101</c:v>
                </c:pt>
                <c:pt idx="2393">
                  <c:v>1.3891806593702467</c:v>
                </c:pt>
                <c:pt idx="2394">
                  <c:v>1.4974621059500599</c:v>
                </c:pt>
                <c:pt idx="2395">
                  <c:v>1.6321325771245687</c:v>
                </c:pt>
                <c:pt idx="2396">
                  <c:v>1.4966298227839341</c:v>
                </c:pt>
                <c:pt idx="2397">
                  <c:v>1.6961713490031158</c:v>
                </c:pt>
                <c:pt idx="2398">
                  <c:v>2.0003580946638095</c:v>
                </c:pt>
                <c:pt idx="2399">
                  <c:v>1.1699403106904707</c:v>
                </c:pt>
              </c:numCache>
            </c:numRef>
          </c:val>
          <c:smooth val="0"/>
          <c:extLst>
            <c:ext xmlns:c16="http://schemas.microsoft.com/office/drawing/2014/chart" uri="{C3380CC4-5D6E-409C-BE32-E72D297353CC}">
              <c16:uniqueId val="{00000004-502A-4D47-98A0-26375414C71F}"/>
            </c:ext>
          </c:extLst>
        </c:ser>
        <c:dLbls>
          <c:showLegendKey val="0"/>
          <c:showVal val="0"/>
          <c:showCatName val="0"/>
          <c:showSerName val="0"/>
          <c:showPercent val="0"/>
          <c:showBubbleSize val="0"/>
        </c:dLbls>
        <c:marker val="1"/>
        <c:smooth val="0"/>
        <c:axId val="332022928"/>
        <c:axId val="367419664"/>
      </c:lineChart>
      <c:lineChart>
        <c:grouping val="standard"/>
        <c:varyColors val="0"/>
        <c:ser>
          <c:idx val="5"/>
          <c:order val="4"/>
          <c:tx>
            <c:strRef>
              <c:f>'DRT Rolling Stdev'!$H$1</c:f>
              <c:strCache>
                <c:ptCount val="1"/>
                <c:pt idx="0">
                  <c:v>Horse Power</c:v>
                </c:pt>
              </c:strCache>
            </c:strRef>
          </c:tx>
          <c:spPr>
            <a:ln w="28575" cap="rnd">
              <a:solidFill>
                <a:schemeClr val="accent6"/>
              </a:solidFill>
              <a:round/>
            </a:ln>
            <a:effectLst/>
          </c:spPr>
          <c:marker>
            <c:symbol val="none"/>
          </c:marker>
          <c:val>
            <c:numRef>
              <c:f>'DRT Rolling Stdev'!$H$2:$H$2454</c:f>
              <c:numCache>
                <c:formatCode>#,##0.00</c:formatCode>
                <c:ptCount val="2401"/>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1.7437245299630888</c:v>
                </c:pt>
                <c:pt idx="2254">
                  <c:v>1.7545669162007229</c:v>
                </c:pt>
                <c:pt idx="2255">
                  <c:v>1.7775605909113272</c:v>
                </c:pt>
                <c:pt idx="2256">
                  <c:v>1.7633967479526151</c:v>
                </c:pt>
                <c:pt idx="2257">
                  <c:v>1.7489823028509832</c:v>
                </c:pt>
                <c:pt idx="2258">
                  <c:v>1.7246657228172451</c:v>
                </c:pt>
                <c:pt idx="2259">
                  <c:v>1.6894332540018182</c:v>
                </c:pt>
                <c:pt idx="2260">
                  <c:v>1.6461147938458229</c:v>
                </c:pt>
                <c:pt idx="2261">
                  <c:v>1.5886982773724874</c:v>
                </c:pt>
                <c:pt idx="2262">
                  <c:v>1.5153334424663523</c:v>
                </c:pt>
                <c:pt idx="2263">
                  <c:v>1.4351875014447313</c:v>
                </c:pt>
                <c:pt idx="2264">
                  <c:v>1.3426010017550052</c:v>
                </c:pt>
                <c:pt idx="2265">
                  <c:v>1.2309104907294715</c:v>
                </c:pt>
                <c:pt idx="2266">
                  <c:v>1.1091619456351949</c:v>
                </c:pt>
                <c:pt idx="2267">
                  <c:v>0.9360608606056251</c:v>
                </c:pt>
                <c:pt idx="2268">
                  <c:v>0.71224113594434191</c:v>
                </c:pt>
                <c:pt idx="2269">
                  <c:v>0.3167671286371993</c:v>
                </c:pt>
                <c:pt idx="2270">
                  <c:v>0.31685548667680796</c:v>
                </c:pt>
                <c:pt idx="2271">
                  <c:v>0.30659147893713395</c:v>
                </c:pt>
                <c:pt idx="2272">
                  <c:v>0.29863770554012276</c:v>
                </c:pt>
                <c:pt idx="2273">
                  <c:v>0.30007917965723857</c:v>
                </c:pt>
                <c:pt idx="2274">
                  <c:v>0.29653518660544603</c:v>
                </c:pt>
                <c:pt idx="2275">
                  <c:v>0.29026536493382077</c:v>
                </c:pt>
                <c:pt idx="2276">
                  <c:v>0.29170660583374869</c:v>
                </c:pt>
                <c:pt idx="2277">
                  <c:v>0.28128788004275179</c:v>
                </c:pt>
                <c:pt idx="2278">
                  <c:v>0.27989599789014874</c:v>
                </c:pt>
                <c:pt idx="2279">
                  <c:v>0.27699714093391176</c:v>
                </c:pt>
                <c:pt idx="2280">
                  <c:v>0.27512465803108088</c:v>
                </c:pt>
                <c:pt idx="2281">
                  <c:v>0.29005301556680724</c:v>
                </c:pt>
                <c:pt idx="2282">
                  <c:v>0.28082353105276686</c:v>
                </c:pt>
                <c:pt idx="2283">
                  <c:v>0.28498973288893503</c:v>
                </c:pt>
                <c:pt idx="2284">
                  <c:v>0.30215305486015359</c:v>
                </c:pt>
                <c:pt idx="2285">
                  <c:v>0.28770053868799789</c:v>
                </c:pt>
                <c:pt idx="2286">
                  <c:v>0.30527853305532193</c:v>
                </c:pt>
                <c:pt idx="2287">
                  <c:v>0.30164171824491548</c:v>
                </c:pt>
                <c:pt idx="2288">
                  <c:v>0.30444676281256894</c:v>
                </c:pt>
                <c:pt idx="2289">
                  <c:v>0.31358329777929655</c:v>
                </c:pt>
                <c:pt idx="2290">
                  <c:v>0.32835895906511986</c:v>
                </c:pt>
                <c:pt idx="2291">
                  <c:v>0.3280836399308647</c:v>
                </c:pt>
                <c:pt idx="2292">
                  <c:v>0.32456532440505925</c:v>
                </c:pt>
                <c:pt idx="2293">
                  <c:v>0.32581088080790654</c:v>
                </c:pt>
                <c:pt idx="2294">
                  <c:v>0.32703895120895526</c:v>
                </c:pt>
                <c:pt idx="2295">
                  <c:v>0.32491624768944255</c:v>
                </c:pt>
                <c:pt idx="2296">
                  <c:v>0.28273201352862387</c:v>
                </c:pt>
                <c:pt idx="2297">
                  <c:v>0.30232690375297733</c:v>
                </c:pt>
                <c:pt idx="2298">
                  <c:v>0.28134741881608444</c:v>
                </c:pt>
                <c:pt idx="2299">
                  <c:v>0.3024427112612797</c:v>
                </c:pt>
                <c:pt idx="2300">
                  <c:v>0.30625579179545642</c:v>
                </c:pt>
                <c:pt idx="2301">
                  <c:v>0.30876944335216383</c:v>
                </c:pt>
                <c:pt idx="2302">
                  <c:v>0.31411411693703839</c:v>
                </c:pt>
                <c:pt idx="2303">
                  <c:v>0.31760082352486407</c:v>
                </c:pt>
                <c:pt idx="2304">
                  <c:v>0.315989622849078</c:v>
                </c:pt>
                <c:pt idx="2305">
                  <c:v>0.33084958042243501</c:v>
                </c:pt>
                <c:pt idx="2306">
                  <c:v>0.34234578375031072</c:v>
                </c:pt>
                <c:pt idx="2307">
                  <c:v>0.3477306532972218</c:v>
                </c:pt>
                <c:pt idx="2308">
                  <c:v>0.35178141514451094</c:v>
                </c:pt>
                <c:pt idx="2309">
                  <c:v>0.36648625382157357</c:v>
                </c:pt>
                <c:pt idx="2310">
                  <c:v>0.38111553869611986</c:v>
                </c:pt>
                <c:pt idx="2311">
                  <c:v>0.37603250008949868</c:v>
                </c:pt>
                <c:pt idx="2312">
                  <c:v>0.38972250289960125</c:v>
                </c:pt>
                <c:pt idx="2313">
                  <c:v>0.38555757159607568</c:v>
                </c:pt>
                <c:pt idx="2314">
                  <c:v>0.37845843728563833</c:v>
                </c:pt>
                <c:pt idx="2315">
                  <c:v>0.37129868047391568</c:v>
                </c:pt>
                <c:pt idx="2316">
                  <c:v>0.36219057403784372</c:v>
                </c:pt>
                <c:pt idx="2317">
                  <c:v>0.37745862956819576</c:v>
                </c:pt>
                <c:pt idx="2318">
                  <c:v>0.373787502218139</c:v>
                </c:pt>
                <c:pt idx="2319">
                  <c:v>0.36924075520263416</c:v>
                </c:pt>
                <c:pt idx="2320">
                  <c:v>0.34854728964830817</c:v>
                </c:pt>
                <c:pt idx="2321">
                  <c:v>0.34947742521576797</c:v>
                </c:pt>
                <c:pt idx="2322">
                  <c:v>0.34660195589671233</c:v>
                </c:pt>
                <c:pt idx="2323">
                  <c:v>0.34241070661918305</c:v>
                </c:pt>
                <c:pt idx="2324">
                  <c:v>0.35140868685045484</c:v>
                </c:pt>
                <c:pt idx="2325">
                  <c:v>0.36686615843443793</c:v>
                </c:pt>
                <c:pt idx="2326">
                  <c:v>0.36485867285014573</c:v>
                </c:pt>
                <c:pt idx="2327">
                  <c:v>0.36347909940477985</c:v>
                </c:pt>
                <c:pt idx="2328">
                  <c:v>0.37113746450722468</c:v>
                </c:pt>
                <c:pt idx="2329">
                  <c:v>0.3619560904444038</c:v>
                </c:pt>
                <c:pt idx="2330">
                  <c:v>0.36576077613246105</c:v>
                </c:pt>
                <c:pt idx="2331">
                  <c:v>0.36088383843527927</c:v>
                </c:pt>
                <c:pt idx="2332">
                  <c:v>0.35538419193728071</c:v>
                </c:pt>
                <c:pt idx="2333">
                  <c:v>0.35517762668510194</c:v>
                </c:pt>
                <c:pt idx="2334">
                  <c:v>0.3603590888073932</c:v>
                </c:pt>
                <c:pt idx="2335">
                  <c:v>0.36009028907570367</c:v>
                </c:pt>
                <c:pt idx="2336">
                  <c:v>0.36624395679194188</c:v>
                </c:pt>
                <c:pt idx="2337">
                  <c:v>0.36528227908941857</c:v>
                </c:pt>
                <c:pt idx="2338">
                  <c:v>0.37440012472075546</c:v>
                </c:pt>
                <c:pt idx="2339">
                  <c:v>0.35915406556169527</c:v>
                </c:pt>
                <c:pt idx="2340">
                  <c:v>0.35393983050995309</c:v>
                </c:pt>
                <c:pt idx="2341">
                  <c:v>0.35026848317337789</c:v>
                </c:pt>
                <c:pt idx="2342">
                  <c:v>0.33461590515161405</c:v>
                </c:pt>
                <c:pt idx="2343">
                  <c:v>0.33221740682324385</c:v>
                </c:pt>
                <c:pt idx="2344">
                  <c:v>0.33187875601537858</c:v>
                </c:pt>
                <c:pt idx="2345">
                  <c:v>0.33638949139113655</c:v>
                </c:pt>
                <c:pt idx="2346">
                  <c:v>0.33921315250470407</c:v>
                </c:pt>
                <c:pt idx="2347">
                  <c:v>0.32461732282841488</c:v>
                </c:pt>
                <c:pt idx="2348">
                  <c:v>0.32813453729041542</c:v>
                </c:pt>
                <c:pt idx="2349">
                  <c:v>0.34371410740691655</c:v>
                </c:pt>
                <c:pt idx="2350">
                  <c:v>0.34898683068946923</c:v>
                </c:pt>
                <c:pt idx="2351">
                  <c:v>0.35019244721459003</c:v>
                </c:pt>
                <c:pt idx="2352">
                  <c:v>0.35074763732711456</c:v>
                </c:pt>
                <c:pt idx="2353">
                  <c:v>0.3554661253230309</c:v>
                </c:pt>
                <c:pt idx="2354">
                  <c:v>0.34762310187416678</c:v>
                </c:pt>
                <c:pt idx="2355">
                  <c:v>0.33802553476298058</c:v>
                </c:pt>
                <c:pt idx="2356">
                  <c:v>0.35239800480610856</c:v>
                </c:pt>
                <c:pt idx="2357">
                  <c:v>0.35510119005462731</c:v>
                </c:pt>
                <c:pt idx="2358">
                  <c:v>0.34315744060422015</c:v>
                </c:pt>
                <c:pt idx="2359">
                  <c:v>0.33727447254735343</c:v>
                </c:pt>
                <c:pt idx="2360">
                  <c:v>0.34217752688971531</c:v>
                </c:pt>
                <c:pt idx="2361">
                  <c:v>0.35146448687850418</c:v>
                </c:pt>
                <c:pt idx="2362">
                  <c:v>0.35838628176279497</c:v>
                </c:pt>
                <c:pt idx="2363">
                  <c:v>0.35382247688638691</c:v>
                </c:pt>
                <c:pt idx="2364">
                  <c:v>0.3671633690605558</c:v>
                </c:pt>
                <c:pt idx="2365">
                  <c:v>0.361391941389824</c:v>
                </c:pt>
                <c:pt idx="2366">
                  <c:v>0.35165118764739589</c:v>
                </c:pt>
                <c:pt idx="2367">
                  <c:v>0.35502491185489399</c:v>
                </c:pt>
                <c:pt idx="2368">
                  <c:v>0.35279905328932798</c:v>
                </c:pt>
                <c:pt idx="2369">
                  <c:v>0.35796460629394217</c:v>
                </c:pt>
                <c:pt idx="2370">
                  <c:v>0.35517809169724374</c:v>
                </c:pt>
                <c:pt idx="2371">
                  <c:v>0.35641592364230479</c:v>
                </c:pt>
                <c:pt idx="2372">
                  <c:v>0.3581470816785704</c:v>
                </c:pt>
                <c:pt idx="2373">
                  <c:v>0.36455734896454123</c:v>
                </c:pt>
                <c:pt idx="2374">
                  <c:v>0.37026574624205078</c:v>
                </c:pt>
                <c:pt idx="2375">
                  <c:v>0.37330491307347341</c:v>
                </c:pt>
                <c:pt idx="2376">
                  <c:v>0.37193705557470652</c:v>
                </c:pt>
                <c:pt idx="2377">
                  <c:v>0.37928679184797315</c:v>
                </c:pt>
                <c:pt idx="2378">
                  <c:v>0.38304974351334486</c:v>
                </c:pt>
                <c:pt idx="2379">
                  <c:v>0.36415728991004492</c:v>
                </c:pt>
                <c:pt idx="2380">
                  <c:v>0.36764776721847514</c:v>
                </c:pt>
                <c:pt idx="2381">
                  <c:v>0.37493002347943072</c:v>
                </c:pt>
                <c:pt idx="2382">
                  <c:v>0.38417526297846816</c:v>
                </c:pt>
                <c:pt idx="2383">
                  <c:v>0.38698587970354403</c:v>
                </c:pt>
                <c:pt idx="2384">
                  <c:v>0.39178996255448051</c:v>
                </c:pt>
                <c:pt idx="2385">
                  <c:v>0.39732475868288047</c:v>
                </c:pt>
                <c:pt idx="2386">
                  <c:v>0.38357211426890025</c:v>
                </c:pt>
                <c:pt idx="2387">
                  <c:v>0.36719008983809864</c:v>
                </c:pt>
                <c:pt idx="2388">
                  <c:v>0.37774482267167819</c:v>
                </c:pt>
                <c:pt idx="2389">
                  <c:v>0.39273852437848894</c:v>
                </c:pt>
                <c:pt idx="2390">
                  <c:v>0.40234798684861989</c:v>
                </c:pt>
                <c:pt idx="2391">
                  <c:v>0.40767733828021957</c:v>
                </c:pt>
                <c:pt idx="2392">
                  <c:v>0.40268861611841072</c:v>
                </c:pt>
                <c:pt idx="2393">
                  <c:v>0.4301902146897556</c:v>
                </c:pt>
                <c:pt idx="2394">
                  <c:v>0.38077725600392393</c:v>
                </c:pt>
                <c:pt idx="2395">
                  <c:v>0.4160377652396729</c:v>
                </c:pt>
                <c:pt idx="2396">
                  <c:v>0.43143469780528171</c:v>
                </c:pt>
                <c:pt idx="2397">
                  <c:v>0.4664874378896674</c:v>
                </c:pt>
                <c:pt idx="2398">
                  <c:v>0.11425663148166298</c:v>
                </c:pt>
                <c:pt idx="2399">
                  <c:v>0.14554120915130589</c:v>
                </c:pt>
              </c:numCache>
            </c:numRef>
          </c:val>
          <c:smooth val="0"/>
          <c:extLst>
            <c:ext xmlns:c16="http://schemas.microsoft.com/office/drawing/2014/chart" uri="{C3380CC4-5D6E-409C-BE32-E72D297353CC}">
              <c16:uniqueId val="{00000005-502A-4D47-98A0-26375414C71F}"/>
            </c:ext>
          </c:extLst>
        </c:ser>
        <c:ser>
          <c:idx val="7"/>
          <c:order val="6"/>
          <c:tx>
            <c:strRef>
              <c:f>'DRT Rolling Stdev'!$J$1</c:f>
              <c:strCache>
                <c:ptCount val="1"/>
                <c:pt idx="0">
                  <c:v>PUMP FAILURE (1 or 0)</c:v>
                </c:pt>
              </c:strCache>
            </c:strRef>
          </c:tx>
          <c:spPr>
            <a:ln w="28575" cap="rnd">
              <a:solidFill>
                <a:schemeClr val="accent2">
                  <a:lumMod val="60000"/>
                </a:schemeClr>
              </a:solidFill>
              <a:round/>
            </a:ln>
            <a:effectLst/>
          </c:spPr>
          <c:marker>
            <c:symbol val="none"/>
          </c:marker>
          <c:val>
            <c:numRef>
              <c:f>'DRT Rolling Stdev'!$J$2:$J$2454</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0</c:v>
                </c:pt>
                <c:pt idx="2254">
                  <c:v>0</c:v>
                </c:pt>
                <c:pt idx="2255">
                  <c:v>0</c:v>
                </c:pt>
                <c:pt idx="2256">
                  <c:v>0</c:v>
                </c:pt>
                <c:pt idx="2257">
                  <c:v>0</c:v>
                </c:pt>
                <c:pt idx="2258">
                  <c:v>0</c:v>
                </c:pt>
                <c:pt idx="2259">
                  <c:v>0</c:v>
                </c:pt>
                <c:pt idx="2260">
                  <c:v>0</c:v>
                </c:pt>
                <c:pt idx="2261">
                  <c:v>0</c:v>
                </c:pt>
                <c:pt idx="2262">
                  <c:v>0</c:v>
                </c:pt>
                <c:pt idx="2263">
                  <c:v>0</c:v>
                </c:pt>
                <c:pt idx="2264">
                  <c:v>0</c:v>
                </c:pt>
                <c:pt idx="2265">
                  <c:v>0</c:v>
                </c:pt>
                <c:pt idx="2266">
                  <c:v>0</c:v>
                </c:pt>
                <c:pt idx="2267">
                  <c:v>0</c:v>
                </c:pt>
                <c:pt idx="2268">
                  <c:v>0</c:v>
                </c:pt>
                <c:pt idx="2269">
                  <c:v>0</c:v>
                </c:pt>
                <c:pt idx="2270">
                  <c:v>0</c:v>
                </c:pt>
                <c:pt idx="2271">
                  <c:v>0</c:v>
                </c:pt>
                <c:pt idx="2272">
                  <c:v>0</c:v>
                </c:pt>
                <c:pt idx="2273">
                  <c:v>0</c:v>
                </c:pt>
                <c:pt idx="2274">
                  <c:v>0</c:v>
                </c:pt>
                <c:pt idx="2275">
                  <c:v>0</c:v>
                </c:pt>
                <c:pt idx="2276">
                  <c:v>0</c:v>
                </c:pt>
                <c:pt idx="2277">
                  <c:v>0</c:v>
                </c:pt>
                <c:pt idx="2278">
                  <c:v>0</c:v>
                </c:pt>
                <c:pt idx="2279">
                  <c:v>0</c:v>
                </c:pt>
                <c:pt idx="2280">
                  <c:v>0</c:v>
                </c:pt>
                <c:pt idx="2281">
                  <c:v>0</c:v>
                </c:pt>
                <c:pt idx="2282">
                  <c:v>0</c:v>
                </c:pt>
                <c:pt idx="2283">
                  <c:v>0</c:v>
                </c:pt>
                <c:pt idx="2284">
                  <c:v>0</c:v>
                </c:pt>
                <c:pt idx="2285">
                  <c:v>0</c:v>
                </c:pt>
                <c:pt idx="2286">
                  <c:v>0</c:v>
                </c:pt>
                <c:pt idx="2287">
                  <c:v>0</c:v>
                </c:pt>
                <c:pt idx="2288">
                  <c:v>0</c:v>
                </c:pt>
                <c:pt idx="2289">
                  <c:v>0</c:v>
                </c:pt>
                <c:pt idx="2290">
                  <c:v>0</c:v>
                </c:pt>
                <c:pt idx="2291">
                  <c:v>0</c:v>
                </c:pt>
                <c:pt idx="2292">
                  <c:v>0</c:v>
                </c:pt>
                <c:pt idx="2293">
                  <c:v>0</c:v>
                </c:pt>
                <c:pt idx="2294">
                  <c:v>0</c:v>
                </c:pt>
                <c:pt idx="2295">
                  <c:v>0</c:v>
                </c:pt>
                <c:pt idx="2296">
                  <c:v>0</c:v>
                </c:pt>
                <c:pt idx="2297">
                  <c:v>0</c:v>
                </c:pt>
                <c:pt idx="2298">
                  <c:v>0</c:v>
                </c:pt>
                <c:pt idx="2299">
                  <c:v>0</c:v>
                </c:pt>
                <c:pt idx="2300">
                  <c:v>0</c:v>
                </c:pt>
                <c:pt idx="2301">
                  <c:v>0</c:v>
                </c:pt>
                <c:pt idx="2302">
                  <c:v>0</c:v>
                </c:pt>
                <c:pt idx="2303">
                  <c:v>0</c:v>
                </c:pt>
                <c:pt idx="2304">
                  <c:v>0</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numCache>
            </c:numRef>
          </c:val>
          <c:smooth val="0"/>
          <c:extLst>
            <c:ext xmlns:c16="http://schemas.microsoft.com/office/drawing/2014/chart" uri="{C3380CC4-5D6E-409C-BE32-E72D297353CC}">
              <c16:uniqueId val="{00000006-502A-4D47-98A0-26375414C71F}"/>
            </c:ext>
          </c:extLst>
        </c:ser>
        <c:dLbls>
          <c:showLegendKey val="0"/>
          <c:showVal val="0"/>
          <c:showCatName val="0"/>
          <c:showSerName val="0"/>
          <c:showPercent val="0"/>
          <c:showBubbleSize val="0"/>
        </c:dLbls>
        <c:marker val="1"/>
        <c:smooth val="0"/>
        <c:axId val="1552906143"/>
        <c:axId val="144966192"/>
      </c:lineChart>
      <c:catAx>
        <c:axId val="332022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7419664"/>
        <c:crosses val="autoZero"/>
        <c:auto val="1"/>
        <c:lblAlgn val="ctr"/>
        <c:lblOffset val="100"/>
        <c:noMultiLvlLbl val="0"/>
      </c:catAx>
      <c:valAx>
        <c:axId val="3674196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2022928"/>
        <c:crosses val="autoZero"/>
        <c:crossBetween val="between"/>
      </c:valAx>
      <c:valAx>
        <c:axId val="1449661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52906143"/>
        <c:crosses val="max"/>
        <c:crossBetween val="between"/>
      </c:valAx>
      <c:catAx>
        <c:axId val="1552906143"/>
        <c:scaling>
          <c:orientation val="minMax"/>
        </c:scaling>
        <c:delete val="1"/>
        <c:axPos val="b"/>
        <c:majorTickMark val="out"/>
        <c:minorTickMark val="none"/>
        <c:tickLblPos val="nextTo"/>
        <c:crossAx val="1449661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olling STDEV</a:t>
            </a:r>
            <a:r>
              <a:rPr lang="en-AU" sz="1800" b="1" i="0" baseline="0" dirty="0">
                <a:effectLst/>
              </a:rPr>
              <a:t>)</a:t>
            </a:r>
            <a:endParaRPr lang="en-US" dirty="0">
              <a:effectLst/>
            </a:endParaRPr>
          </a:p>
        </c:rich>
      </c:tx>
      <c:layout>
        <c:manualLayout>
          <c:xMode val="edge"/>
          <c:yMode val="edge"/>
          <c:x val="0.26200534480034704"/>
          <c:y val="2.0595531969617213E-2"/>
        </c:manualLayout>
      </c:layout>
      <c:overlay val="0"/>
      <c:spPr>
        <a:noFill/>
        <a:ln>
          <a:noFill/>
        </a:ln>
        <a:effectLst/>
      </c:spPr>
      <c:txPr>
        <a:bodyPr rot="0" spcFirstLastPara="1" vertOverflow="ellipsis" vert="horz" wrap="square" anchor="ctr" anchorCtr="1"/>
        <a:lstStyle/>
        <a:p>
          <a:pPr algn="l">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W$39</c:f>
              <c:strCache>
                <c:ptCount val="1"/>
                <c:pt idx="0">
                  <c:v>Pump Torque </c:v>
                </c:pt>
              </c:strCache>
            </c:strRef>
          </c:tx>
          <c:spPr>
            <a:solidFill>
              <a:schemeClr val="accent6">
                <a:tint val="48000"/>
              </a:schemeClr>
            </a:solidFill>
            <a:ln>
              <a:noFill/>
            </a:ln>
            <a:effectLst/>
          </c:spPr>
          <c:invertIfNegative val="0"/>
          <c:cat>
            <c:strRef>
              <c:f>'Inferential Statistics'!$X$37:$X$38</c:f>
              <c:strCache>
                <c:ptCount val="2"/>
                <c:pt idx="1">
                  <c:v>Correlation Coefficient</c:v>
                </c:pt>
              </c:strCache>
            </c:strRef>
          </c:cat>
          <c:val>
            <c:numRef>
              <c:f>'Inferential Statistics'!$X$39</c:f>
              <c:numCache>
                <c:formatCode>General</c:formatCode>
                <c:ptCount val="1"/>
                <c:pt idx="0">
                  <c:v>0.59726041395457108</c:v>
                </c:pt>
              </c:numCache>
            </c:numRef>
          </c:val>
          <c:extLst>
            <c:ext xmlns:c16="http://schemas.microsoft.com/office/drawing/2014/chart" uri="{C3380CC4-5D6E-409C-BE32-E72D297353CC}">
              <c16:uniqueId val="{00000000-9BE9-413D-A99B-76292A74B42A}"/>
            </c:ext>
          </c:extLst>
        </c:ser>
        <c:ser>
          <c:idx val="1"/>
          <c:order val="1"/>
          <c:tx>
            <c:strRef>
              <c:f>'Inferential Statistics'!$W$40</c:f>
              <c:strCache>
                <c:ptCount val="1"/>
                <c:pt idx="0">
                  <c:v>Ambient Temperature</c:v>
                </c:pt>
              </c:strCache>
            </c:strRef>
          </c:tx>
          <c:spPr>
            <a:solidFill>
              <a:schemeClr val="accent6">
                <a:tint val="65000"/>
              </a:schemeClr>
            </a:solidFill>
            <a:ln>
              <a:noFill/>
            </a:ln>
            <a:effectLst/>
          </c:spPr>
          <c:invertIfNegative val="0"/>
          <c:cat>
            <c:strRef>
              <c:f>'Inferential Statistics'!$X$37:$X$38</c:f>
              <c:strCache>
                <c:ptCount val="2"/>
                <c:pt idx="1">
                  <c:v>Correlation Coefficient</c:v>
                </c:pt>
              </c:strCache>
            </c:strRef>
          </c:cat>
          <c:val>
            <c:numRef>
              <c:f>'Inferential Statistics'!$X$40</c:f>
              <c:numCache>
                <c:formatCode>General</c:formatCode>
                <c:ptCount val="1"/>
                <c:pt idx="0">
                  <c:v>0.60005043132418734</c:v>
                </c:pt>
              </c:numCache>
            </c:numRef>
          </c:val>
          <c:extLst>
            <c:ext xmlns:c16="http://schemas.microsoft.com/office/drawing/2014/chart" uri="{C3380CC4-5D6E-409C-BE32-E72D297353CC}">
              <c16:uniqueId val="{00000001-9BE9-413D-A99B-76292A74B42A}"/>
            </c:ext>
          </c:extLst>
        </c:ser>
        <c:ser>
          <c:idx val="2"/>
          <c:order val="2"/>
          <c:tx>
            <c:strRef>
              <c:f>'Inferential Statistics'!$W$41</c:f>
              <c:strCache>
                <c:ptCount val="1"/>
                <c:pt idx="0">
                  <c:v>Pump Speed (RPM)</c:v>
                </c:pt>
              </c:strCache>
            </c:strRef>
          </c:tx>
          <c:spPr>
            <a:solidFill>
              <a:schemeClr val="accent6">
                <a:tint val="83000"/>
              </a:schemeClr>
            </a:solidFill>
            <a:ln>
              <a:noFill/>
            </a:ln>
            <a:effectLst/>
          </c:spPr>
          <c:invertIfNegative val="0"/>
          <c:cat>
            <c:strRef>
              <c:f>'Inferential Statistics'!$X$37:$X$38</c:f>
              <c:strCache>
                <c:ptCount val="2"/>
                <c:pt idx="1">
                  <c:v>Correlation Coefficient</c:v>
                </c:pt>
              </c:strCache>
            </c:strRef>
          </c:cat>
          <c:val>
            <c:numRef>
              <c:f>'Inferential Statistics'!$X$41</c:f>
              <c:numCache>
                <c:formatCode>General</c:formatCode>
                <c:ptCount val="1"/>
                <c:pt idx="0">
                  <c:v>0.62455590762221425</c:v>
                </c:pt>
              </c:numCache>
            </c:numRef>
          </c:val>
          <c:extLst>
            <c:ext xmlns:c16="http://schemas.microsoft.com/office/drawing/2014/chart" uri="{C3380CC4-5D6E-409C-BE32-E72D297353CC}">
              <c16:uniqueId val="{00000002-9BE9-413D-A99B-76292A74B42A}"/>
            </c:ext>
          </c:extLst>
        </c:ser>
        <c:ser>
          <c:idx val="3"/>
          <c:order val="3"/>
          <c:tx>
            <c:strRef>
              <c:f>'Inferential Statistics'!$W$42</c:f>
              <c:strCache>
                <c:ptCount val="1"/>
                <c:pt idx="0">
                  <c:v>Volumetric Flow Meter 2</c:v>
                </c:pt>
              </c:strCache>
            </c:strRef>
          </c:tx>
          <c:spPr>
            <a:solidFill>
              <a:schemeClr val="accent6"/>
            </a:solidFill>
            <a:ln>
              <a:noFill/>
            </a:ln>
            <a:effectLst/>
          </c:spPr>
          <c:invertIfNegative val="0"/>
          <c:cat>
            <c:strRef>
              <c:f>'Inferential Statistics'!$X$37:$X$38</c:f>
              <c:strCache>
                <c:ptCount val="2"/>
                <c:pt idx="1">
                  <c:v>Correlation Coefficient</c:v>
                </c:pt>
              </c:strCache>
            </c:strRef>
          </c:cat>
          <c:val>
            <c:numRef>
              <c:f>'Inferential Statistics'!$X$42</c:f>
              <c:numCache>
                <c:formatCode>General</c:formatCode>
                <c:ptCount val="1"/>
                <c:pt idx="0">
                  <c:v>0.62592087058373946</c:v>
                </c:pt>
              </c:numCache>
            </c:numRef>
          </c:val>
          <c:extLst>
            <c:ext xmlns:c16="http://schemas.microsoft.com/office/drawing/2014/chart" uri="{C3380CC4-5D6E-409C-BE32-E72D297353CC}">
              <c16:uniqueId val="{00000003-9BE9-413D-A99B-76292A74B42A}"/>
            </c:ext>
          </c:extLst>
        </c:ser>
        <c:ser>
          <c:idx val="4"/>
          <c:order val="4"/>
          <c:tx>
            <c:strRef>
              <c:f>'Inferential Statistics'!$W$43</c:f>
              <c:strCache>
                <c:ptCount val="1"/>
                <c:pt idx="0">
                  <c:v>Pump Efficiency</c:v>
                </c:pt>
              </c:strCache>
            </c:strRef>
          </c:tx>
          <c:spPr>
            <a:solidFill>
              <a:schemeClr val="accent6">
                <a:shade val="82000"/>
              </a:schemeClr>
            </a:solidFill>
            <a:ln>
              <a:noFill/>
            </a:ln>
            <a:effectLst/>
          </c:spPr>
          <c:invertIfNegative val="0"/>
          <c:cat>
            <c:strRef>
              <c:f>'Inferential Statistics'!$X$37:$X$38</c:f>
              <c:strCache>
                <c:ptCount val="2"/>
                <c:pt idx="1">
                  <c:v>Correlation Coefficient</c:v>
                </c:pt>
              </c:strCache>
            </c:strRef>
          </c:cat>
          <c:val>
            <c:numRef>
              <c:f>'Inferential Statistics'!$X$43</c:f>
              <c:numCache>
                <c:formatCode>0.00</c:formatCode>
                <c:ptCount val="1"/>
                <c:pt idx="0">
                  <c:v>0.64355470000000004</c:v>
                </c:pt>
              </c:numCache>
            </c:numRef>
          </c:val>
          <c:extLst>
            <c:ext xmlns:c16="http://schemas.microsoft.com/office/drawing/2014/chart" uri="{C3380CC4-5D6E-409C-BE32-E72D297353CC}">
              <c16:uniqueId val="{00000004-9BE9-413D-A99B-76292A74B42A}"/>
            </c:ext>
          </c:extLst>
        </c:ser>
        <c:ser>
          <c:idx val="5"/>
          <c:order val="5"/>
          <c:tx>
            <c:strRef>
              <c:f>'Inferential Statistics'!$W$44</c:f>
              <c:strCache>
                <c:ptCount val="1"/>
                <c:pt idx="0">
                  <c:v>Volumetric Flow Meter 1</c:v>
                </c:pt>
              </c:strCache>
            </c:strRef>
          </c:tx>
          <c:spPr>
            <a:solidFill>
              <a:schemeClr val="accent6">
                <a:shade val="65000"/>
              </a:schemeClr>
            </a:solidFill>
            <a:ln>
              <a:noFill/>
            </a:ln>
            <a:effectLst/>
          </c:spPr>
          <c:invertIfNegative val="0"/>
          <c:cat>
            <c:strRef>
              <c:f>'Inferential Statistics'!$X$37:$X$38</c:f>
              <c:strCache>
                <c:ptCount val="2"/>
                <c:pt idx="1">
                  <c:v>Correlation Coefficient</c:v>
                </c:pt>
              </c:strCache>
            </c:strRef>
          </c:cat>
          <c:val>
            <c:numRef>
              <c:f>'Inferential Statistics'!$X$44</c:f>
              <c:numCache>
                <c:formatCode>0.00</c:formatCode>
                <c:ptCount val="1"/>
                <c:pt idx="0">
                  <c:v>0.64488041600000001</c:v>
                </c:pt>
              </c:numCache>
            </c:numRef>
          </c:val>
          <c:extLst>
            <c:ext xmlns:c16="http://schemas.microsoft.com/office/drawing/2014/chart" uri="{C3380CC4-5D6E-409C-BE32-E72D297353CC}">
              <c16:uniqueId val="{00000005-9BE9-413D-A99B-76292A74B42A}"/>
            </c:ext>
          </c:extLst>
        </c:ser>
        <c:ser>
          <c:idx val="6"/>
          <c:order val="6"/>
          <c:tx>
            <c:strRef>
              <c:f>'Inferential Statistics'!$W$45</c:f>
              <c:strCache>
                <c:ptCount val="1"/>
                <c:pt idx="0">
                  <c:v>Horse Power</c:v>
                </c:pt>
              </c:strCache>
            </c:strRef>
          </c:tx>
          <c:spPr>
            <a:solidFill>
              <a:schemeClr val="accent6">
                <a:shade val="47000"/>
              </a:schemeClr>
            </a:solidFill>
            <a:ln>
              <a:noFill/>
            </a:ln>
            <a:effectLst/>
          </c:spPr>
          <c:invertIfNegative val="0"/>
          <c:cat>
            <c:strRef>
              <c:f>'Inferential Statistics'!$X$37:$X$38</c:f>
              <c:strCache>
                <c:ptCount val="2"/>
                <c:pt idx="1">
                  <c:v>Correlation Coefficient</c:v>
                </c:pt>
              </c:strCache>
            </c:strRef>
          </c:cat>
          <c:val>
            <c:numRef>
              <c:f>'Inferential Statistics'!$X$45</c:f>
              <c:numCache>
                <c:formatCode>0.00</c:formatCode>
                <c:ptCount val="1"/>
                <c:pt idx="0">
                  <c:v>0.69010000000000005</c:v>
                </c:pt>
              </c:numCache>
            </c:numRef>
          </c:val>
          <c:extLst>
            <c:ext xmlns:c16="http://schemas.microsoft.com/office/drawing/2014/chart" uri="{C3380CC4-5D6E-409C-BE32-E72D297353CC}">
              <c16:uniqueId val="{00000006-9BE9-413D-A99B-76292A74B42A}"/>
            </c:ext>
          </c:extLst>
        </c:ser>
        <c:dLbls>
          <c:showLegendKey val="0"/>
          <c:showVal val="0"/>
          <c:showCatName val="0"/>
          <c:showSerName val="0"/>
          <c:showPercent val="0"/>
          <c:showBubbleSize val="0"/>
        </c:dLbls>
        <c:gapWidth val="444"/>
        <c:overlap val="-90"/>
        <c:axId val="1001428576"/>
        <c:axId val="751302160"/>
      </c:barChart>
      <c:catAx>
        <c:axId val="1001428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751302160"/>
        <c:crosses val="autoZero"/>
        <c:auto val="1"/>
        <c:lblAlgn val="ctr"/>
        <c:lblOffset val="100"/>
        <c:noMultiLvlLbl val="0"/>
      </c:catAx>
      <c:valAx>
        <c:axId val="751302160"/>
        <c:scaling>
          <c:orientation val="minMax"/>
        </c:scaling>
        <c:delete val="1"/>
        <c:axPos val="l"/>
        <c:numFmt formatCode="General" sourceLinked="1"/>
        <c:majorTickMark val="none"/>
        <c:minorTickMark val="none"/>
        <c:tickLblPos val="nextTo"/>
        <c:crossAx val="10014285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u="none" strike="noStrike" baseline="0" dirty="0">
                <a:effectLst/>
              </a:rPr>
              <a:t>Correlation Strength Associated With Pump Failure (Rolling Mean)</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M$38</c:f>
              <c:strCache>
                <c:ptCount val="1"/>
                <c:pt idx="0">
                  <c:v>Volumetric Flow Meter 2</c:v>
                </c:pt>
              </c:strCache>
            </c:strRef>
          </c:tx>
          <c:spPr>
            <a:solidFill>
              <a:schemeClr val="accent6">
                <a:tint val="48000"/>
              </a:schemeClr>
            </a:solidFill>
            <a:ln>
              <a:noFill/>
            </a:ln>
            <a:effectLst/>
          </c:spPr>
          <c:invertIfNegative val="0"/>
          <c:cat>
            <c:strRef>
              <c:f>'Inferential Statistics'!$N$37</c:f>
              <c:strCache>
                <c:ptCount val="1"/>
                <c:pt idx="0">
                  <c:v>Rolling Mean (30 Minute) Correlation Coefficient</c:v>
                </c:pt>
              </c:strCache>
            </c:strRef>
          </c:cat>
          <c:val>
            <c:numRef>
              <c:f>'Inferential Statistics'!$N$38</c:f>
              <c:numCache>
                <c:formatCode>General</c:formatCode>
                <c:ptCount val="1"/>
                <c:pt idx="0">
                  <c:v>-0.69773141629733393</c:v>
                </c:pt>
              </c:numCache>
            </c:numRef>
          </c:val>
          <c:extLst>
            <c:ext xmlns:c16="http://schemas.microsoft.com/office/drawing/2014/chart" uri="{C3380CC4-5D6E-409C-BE32-E72D297353CC}">
              <c16:uniqueId val="{00000000-1A74-49A4-9FDB-AB22D8750A38}"/>
            </c:ext>
          </c:extLst>
        </c:ser>
        <c:ser>
          <c:idx val="1"/>
          <c:order val="1"/>
          <c:tx>
            <c:strRef>
              <c:f>'Inferential Statistics'!$M$39</c:f>
              <c:strCache>
                <c:ptCount val="1"/>
                <c:pt idx="0">
                  <c:v>Pump Efficiency</c:v>
                </c:pt>
              </c:strCache>
            </c:strRef>
          </c:tx>
          <c:spPr>
            <a:solidFill>
              <a:schemeClr val="accent6">
                <a:tint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39</c:f>
              <c:numCache>
                <c:formatCode>General</c:formatCode>
                <c:ptCount val="1"/>
                <c:pt idx="0">
                  <c:v>-0.69502783073051644</c:v>
                </c:pt>
              </c:numCache>
            </c:numRef>
          </c:val>
          <c:extLst>
            <c:ext xmlns:c16="http://schemas.microsoft.com/office/drawing/2014/chart" uri="{C3380CC4-5D6E-409C-BE32-E72D297353CC}">
              <c16:uniqueId val="{00000001-1A74-49A4-9FDB-AB22D8750A38}"/>
            </c:ext>
          </c:extLst>
        </c:ser>
        <c:ser>
          <c:idx val="2"/>
          <c:order val="2"/>
          <c:tx>
            <c:strRef>
              <c:f>'Inferential Statistics'!$M$40</c:f>
              <c:strCache>
                <c:ptCount val="1"/>
                <c:pt idx="0">
                  <c:v>Volumetric Flow Meter 1</c:v>
                </c:pt>
              </c:strCache>
            </c:strRef>
          </c:tx>
          <c:spPr>
            <a:solidFill>
              <a:schemeClr val="accent6">
                <a:tint val="83000"/>
              </a:schemeClr>
            </a:solidFill>
            <a:ln>
              <a:noFill/>
            </a:ln>
            <a:effectLst/>
          </c:spPr>
          <c:invertIfNegative val="0"/>
          <c:cat>
            <c:strRef>
              <c:f>'Inferential Statistics'!$N$37</c:f>
              <c:strCache>
                <c:ptCount val="1"/>
                <c:pt idx="0">
                  <c:v>Rolling Mean (30 Minute) Correlation Coefficient</c:v>
                </c:pt>
              </c:strCache>
            </c:strRef>
          </c:cat>
          <c:val>
            <c:numRef>
              <c:f>'Inferential Statistics'!$N$40</c:f>
              <c:numCache>
                <c:formatCode>General</c:formatCode>
                <c:ptCount val="1"/>
                <c:pt idx="0">
                  <c:v>-0.69242513840191577</c:v>
                </c:pt>
              </c:numCache>
            </c:numRef>
          </c:val>
          <c:extLst>
            <c:ext xmlns:c16="http://schemas.microsoft.com/office/drawing/2014/chart" uri="{C3380CC4-5D6E-409C-BE32-E72D297353CC}">
              <c16:uniqueId val="{00000002-1A74-49A4-9FDB-AB22D8750A38}"/>
            </c:ext>
          </c:extLst>
        </c:ser>
        <c:ser>
          <c:idx val="3"/>
          <c:order val="3"/>
          <c:tx>
            <c:strRef>
              <c:f>'Inferential Statistics'!$M$41</c:f>
              <c:strCache>
                <c:ptCount val="1"/>
                <c:pt idx="0">
                  <c:v>Ambient Temperature</c:v>
                </c:pt>
              </c:strCache>
            </c:strRef>
          </c:tx>
          <c:spPr>
            <a:solidFill>
              <a:schemeClr val="accent6"/>
            </a:solidFill>
            <a:ln>
              <a:noFill/>
            </a:ln>
            <a:effectLst/>
          </c:spPr>
          <c:invertIfNegative val="0"/>
          <c:cat>
            <c:strRef>
              <c:f>'Inferential Statistics'!$N$37</c:f>
              <c:strCache>
                <c:ptCount val="1"/>
                <c:pt idx="0">
                  <c:v>Rolling Mean (30 Minute) Correlation Coefficient</c:v>
                </c:pt>
              </c:strCache>
            </c:strRef>
          </c:cat>
          <c:val>
            <c:numRef>
              <c:f>'Inferential Statistics'!$N$41</c:f>
              <c:numCache>
                <c:formatCode>General</c:formatCode>
                <c:ptCount val="1"/>
                <c:pt idx="0">
                  <c:v>-0.30261553525837848</c:v>
                </c:pt>
              </c:numCache>
            </c:numRef>
          </c:val>
          <c:extLst>
            <c:ext xmlns:c16="http://schemas.microsoft.com/office/drawing/2014/chart" uri="{C3380CC4-5D6E-409C-BE32-E72D297353CC}">
              <c16:uniqueId val="{00000003-1A74-49A4-9FDB-AB22D8750A38}"/>
            </c:ext>
          </c:extLst>
        </c:ser>
        <c:ser>
          <c:idx val="4"/>
          <c:order val="4"/>
          <c:tx>
            <c:strRef>
              <c:f>'Inferential Statistics'!$M$42</c:f>
              <c:strCache>
                <c:ptCount val="1"/>
                <c:pt idx="0">
                  <c:v>Pump Torque </c:v>
                </c:pt>
              </c:strCache>
            </c:strRef>
          </c:tx>
          <c:spPr>
            <a:solidFill>
              <a:schemeClr val="accent6">
                <a:shade val="82000"/>
              </a:schemeClr>
            </a:solidFill>
            <a:ln>
              <a:noFill/>
            </a:ln>
            <a:effectLst/>
          </c:spPr>
          <c:invertIfNegative val="0"/>
          <c:cat>
            <c:strRef>
              <c:f>'Inferential Statistics'!$N$37</c:f>
              <c:strCache>
                <c:ptCount val="1"/>
                <c:pt idx="0">
                  <c:v>Rolling Mean (30 Minute) Correlation Coefficient</c:v>
                </c:pt>
              </c:strCache>
            </c:strRef>
          </c:cat>
          <c:val>
            <c:numRef>
              <c:f>'Inferential Statistics'!$N$42</c:f>
              <c:numCache>
                <c:formatCode>General</c:formatCode>
                <c:ptCount val="1"/>
                <c:pt idx="0">
                  <c:v>-0.2159374408882955</c:v>
                </c:pt>
              </c:numCache>
            </c:numRef>
          </c:val>
          <c:extLst>
            <c:ext xmlns:c16="http://schemas.microsoft.com/office/drawing/2014/chart" uri="{C3380CC4-5D6E-409C-BE32-E72D297353CC}">
              <c16:uniqueId val="{00000004-1A74-49A4-9FDB-AB22D8750A38}"/>
            </c:ext>
          </c:extLst>
        </c:ser>
        <c:ser>
          <c:idx val="5"/>
          <c:order val="5"/>
          <c:tx>
            <c:strRef>
              <c:f>'Inferential Statistics'!$M$43</c:f>
              <c:strCache>
                <c:ptCount val="1"/>
                <c:pt idx="0">
                  <c:v>Pump Speed (RPM)</c:v>
                </c:pt>
              </c:strCache>
            </c:strRef>
          </c:tx>
          <c:spPr>
            <a:solidFill>
              <a:schemeClr val="accent6">
                <a:shade val="65000"/>
              </a:schemeClr>
            </a:solidFill>
            <a:ln>
              <a:noFill/>
            </a:ln>
            <a:effectLst/>
          </c:spPr>
          <c:invertIfNegative val="0"/>
          <c:cat>
            <c:strRef>
              <c:f>'Inferential Statistics'!$N$37</c:f>
              <c:strCache>
                <c:ptCount val="1"/>
                <c:pt idx="0">
                  <c:v>Rolling Mean (30 Minute) Correlation Coefficient</c:v>
                </c:pt>
              </c:strCache>
            </c:strRef>
          </c:cat>
          <c:val>
            <c:numRef>
              <c:f>'Inferential Statistics'!$N$43</c:f>
              <c:numCache>
                <c:formatCode>General</c:formatCode>
                <c:ptCount val="1"/>
                <c:pt idx="0">
                  <c:v>-0.18415962170921643</c:v>
                </c:pt>
              </c:numCache>
            </c:numRef>
          </c:val>
          <c:extLst>
            <c:ext xmlns:c16="http://schemas.microsoft.com/office/drawing/2014/chart" uri="{C3380CC4-5D6E-409C-BE32-E72D297353CC}">
              <c16:uniqueId val="{00000005-1A74-49A4-9FDB-AB22D8750A38}"/>
            </c:ext>
          </c:extLst>
        </c:ser>
        <c:ser>
          <c:idx val="6"/>
          <c:order val="6"/>
          <c:tx>
            <c:strRef>
              <c:f>'Inferential Statistics'!$M$44</c:f>
              <c:strCache>
                <c:ptCount val="1"/>
                <c:pt idx="0">
                  <c:v>Horse Power</c:v>
                </c:pt>
              </c:strCache>
            </c:strRef>
          </c:tx>
          <c:spPr>
            <a:solidFill>
              <a:schemeClr val="accent6">
                <a:shade val="47000"/>
              </a:schemeClr>
            </a:solidFill>
            <a:ln>
              <a:noFill/>
            </a:ln>
            <a:effectLst/>
          </c:spPr>
          <c:invertIfNegative val="0"/>
          <c:cat>
            <c:strRef>
              <c:f>'Inferential Statistics'!$N$37</c:f>
              <c:strCache>
                <c:ptCount val="1"/>
                <c:pt idx="0">
                  <c:v>Rolling Mean (30 Minute) Correlation Coefficient</c:v>
                </c:pt>
              </c:strCache>
            </c:strRef>
          </c:cat>
          <c:val>
            <c:numRef>
              <c:f>'Inferential Statistics'!$N$44</c:f>
              <c:numCache>
                <c:formatCode>General</c:formatCode>
                <c:ptCount val="1"/>
                <c:pt idx="0">
                  <c:v>0.21805064054009471</c:v>
                </c:pt>
              </c:numCache>
            </c:numRef>
          </c:val>
          <c:extLst>
            <c:ext xmlns:c16="http://schemas.microsoft.com/office/drawing/2014/chart" uri="{C3380CC4-5D6E-409C-BE32-E72D297353CC}">
              <c16:uniqueId val="{00000006-1A74-49A4-9FDB-AB22D8750A38}"/>
            </c:ext>
          </c:extLst>
        </c:ser>
        <c:dLbls>
          <c:showLegendKey val="0"/>
          <c:showVal val="0"/>
          <c:showCatName val="0"/>
          <c:showSerName val="0"/>
          <c:showPercent val="0"/>
          <c:showBubbleSize val="0"/>
        </c:dLbls>
        <c:gapWidth val="219"/>
        <c:overlap val="-27"/>
        <c:axId val="469005568"/>
        <c:axId val="831360240"/>
      </c:barChart>
      <c:catAx>
        <c:axId val="469005568"/>
        <c:scaling>
          <c:orientation val="minMax"/>
        </c:scaling>
        <c:delete val="1"/>
        <c:axPos val="b"/>
        <c:numFmt formatCode="General" sourceLinked="1"/>
        <c:majorTickMark val="none"/>
        <c:minorTickMark val="none"/>
        <c:tickLblPos val="nextTo"/>
        <c:crossAx val="831360240"/>
        <c:crosses val="autoZero"/>
        <c:auto val="1"/>
        <c:lblAlgn val="ctr"/>
        <c:lblOffset val="100"/>
        <c:noMultiLvlLbl val="0"/>
      </c:catAx>
      <c:valAx>
        <c:axId val="831360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005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AU" sz="1200" b="1" i="0" baseline="0" dirty="0">
                <a:effectLst/>
              </a:rPr>
              <a:t>Correlation Strength Associated With Pump Failure (RAW DATA</a:t>
            </a:r>
            <a:r>
              <a:rPr lang="en-AU" sz="1800" b="1" i="0" baseline="0" dirty="0">
                <a:effectLst/>
              </a:rPr>
              <a:t>)</a:t>
            </a:r>
            <a:endParaRPr lang="en-US" dirty="0">
              <a:effectLst/>
            </a:endParaRPr>
          </a:p>
        </c:rich>
      </c:tx>
      <c:layout>
        <c:manualLayout>
          <c:xMode val="edge"/>
          <c:yMode val="edge"/>
          <c:x val="9.9562335958005246E-2"/>
          <c:y val="2.3148148148148147E-2"/>
        </c:manualLayout>
      </c:layout>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nferential Statistics'!$A$39</c:f>
              <c:strCache>
                <c:ptCount val="1"/>
                <c:pt idx="0">
                  <c:v>Volumetric Flow Meter 2</c:v>
                </c:pt>
              </c:strCache>
            </c:strRef>
          </c:tx>
          <c:spPr>
            <a:solidFill>
              <a:schemeClr val="accent6">
                <a:tint val="48000"/>
              </a:schemeClr>
            </a:solidFill>
            <a:ln>
              <a:noFill/>
            </a:ln>
            <a:effectLst/>
          </c:spPr>
          <c:invertIfNegative val="0"/>
          <c:dLbls>
            <c:dLbl>
              <c:idx val="0"/>
              <c:layout>
                <c:manualLayout>
                  <c:x val="2.7777777777777779E-3"/>
                  <c:y val="0.23611111111111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39</c:f>
              <c:numCache>
                <c:formatCode>General</c:formatCode>
                <c:ptCount val="1"/>
                <c:pt idx="0">
                  <c:v>-0.11211471983758535</c:v>
                </c:pt>
              </c:numCache>
            </c:numRef>
          </c:val>
          <c:extLst>
            <c:ext xmlns:c16="http://schemas.microsoft.com/office/drawing/2014/chart" uri="{C3380CC4-5D6E-409C-BE32-E72D297353CC}">
              <c16:uniqueId val="{00000000-73A9-4F52-A271-135F8A5F973D}"/>
            </c:ext>
          </c:extLst>
        </c:ser>
        <c:ser>
          <c:idx val="1"/>
          <c:order val="1"/>
          <c:tx>
            <c:strRef>
              <c:f>'Inferential Statistics'!$A$40</c:f>
              <c:strCache>
                <c:ptCount val="1"/>
                <c:pt idx="0">
                  <c:v>Pump Efficiency</c:v>
                </c:pt>
              </c:strCache>
            </c:strRef>
          </c:tx>
          <c:spPr>
            <a:solidFill>
              <a:schemeClr val="accent6">
                <a:tint val="65000"/>
              </a:schemeClr>
            </a:solidFill>
            <a:ln>
              <a:noFill/>
            </a:ln>
            <a:effectLst/>
          </c:spPr>
          <c:invertIfNegative val="0"/>
          <c:dLbls>
            <c:dLbl>
              <c:idx val="0"/>
              <c:layout>
                <c:manualLayout>
                  <c:x val="-5.0925337632079971E-17"/>
                  <c:y val="0.208333333333333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0</c:f>
              <c:numCache>
                <c:formatCode>General</c:formatCode>
                <c:ptCount val="1"/>
                <c:pt idx="0">
                  <c:v>-0.10268435123641827</c:v>
                </c:pt>
              </c:numCache>
            </c:numRef>
          </c:val>
          <c:extLst>
            <c:ext xmlns:c16="http://schemas.microsoft.com/office/drawing/2014/chart" uri="{C3380CC4-5D6E-409C-BE32-E72D297353CC}">
              <c16:uniqueId val="{00000001-73A9-4F52-A271-135F8A5F973D}"/>
            </c:ext>
          </c:extLst>
        </c:ser>
        <c:ser>
          <c:idx val="2"/>
          <c:order val="2"/>
          <c:tx>
            <c:strRef>
              <c:f>'Inferential Statistics'!$A$41</c:f>
              <c:strCache>
                <c:ptCount val="1"/>
                <c:pt idx="0">
                  <c:v>Volumetric Flow Meter 1</c:v>
                </c:pt>
              </c:strCache>
            </c:strRef>
          </c:tx>
          <c:spPr>
            <a:solidFill>
              <a:schemeClr val="accent6">
                <a:tint val="83000"/>
              </a:schemeClr>
            </a:solidFill>
            <a:ln>
              <a:noFill/>
            </a:ln>
            <a:effectLst/>
          </c:spPr>
          <c:invertIfNegative val="0"/>
          <c:dLbls>
            <c:dLbl>
              <c:idx val="0"/>
              <c:layout>
                <c:manualLayout>
                  <c:x val="0"/>
                  <c:y val="0.2037037037037037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9-4F52-A271-135F8A5F973D}"/>
                </c:ext>
              </c:extLst>
            </c:dLbl>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1</c:f>
              <c:numCache>
                <c:formatCode>General</c:formatCode>
                <c:ptCount val="1"/>
                <c:pt idx="0">
                  <c:v>-0.10250831660615596</c:v>
                </c:pt>
              </c:numCache>
            </c:numRef>
          </c:val>
          <c:extLst>
            <c:ext xmlns:c16="http://schemas.microsoft.com/office/drawing/2014/chart" uri="{C3380CC4-5D6E-409C-BE32-E72D297353CC}">
              <c16:uniqueId val="{00000002-73A9-4F52-A271-135F8A5F973D}"/>
            </c:ext>
          </c:extLst>
        </c:ser>
        <c:ser>
          <c:idx val="3"/>
          <c:order val="3"/>
          <c:tx>
            <c:strRef>
              <c:f>'Inferential Statistics'!$A$42</c:f>
              <c:strCache>
                <c:ptCount val="1"/>
                <c:pt idx="0">
                  <c:v>Ambient Temperature</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2</c:f>
              <c:numCache>
                <c:formatCode>General</c:formatCode>
                <c:ptCount val="1"/>
                <c:pt idx="0">
                  <c:v>0.20794584017208328</c:v>
                </c:pt>
              </c:numCache>
            </c:numRef>
          </c:val>
          <c:extLst>
            <c:ext xmlns:c16="http://schemas.microsoft.com/office/drawing/2014/chart" uri="{C3380CC4-5D6E-409C-BE32-E72D297353CC}">
              <c16:uniqueId val="{00000003-73A9-4F52-A271-135F8A5F973D}"/>
            </c:ext>
          </c:extLst>
        </c:ser>
        <c:ser>
          <c:idx val="4"/>
          <c:order val="4"/>
          <c:tx>
            <c:strRef>
              <c:f>'Inferential Statistics'!$A$43</c:f>
              <c:strCache>
                <c:ptCount val="1"/>
                <c:pt idx="0">
                  <c:v>Pump Torque </c:v>
                </c:pt>
              </c:strCache>
            </c:strRef>
          </c:tx>
          <c:spPr>
            <a:solidFill>
              <a:schemeClr val="accent6">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3</c:f>
              <c:numCache>
                <c:formatCode>General</c:formatCode>
                <c:ptCount val="1"/>
                <c:pt idx="0">
                  <c:v>0.23319270601019931</c:v>
                </c:pt>
              </c:numCache>
            </c:numRef>
          </c:val>
          <c:extLst>
            <c:ext xmlns:c16="http://schemas.microsoft.com/office/drawing/2014/chart" uri="{C3380CC4-5D6E-409C-BE32-E72D297353CC}">
              <c16:uniqueId val="{00000004-73A9-4F52-A271-135F8A5F973D}"/>
            </c:ext>
          </c:extLst>
        </c:ser>
        <c:ser>
          <c:idx val="5"/>
          <c:order val="5"/>
          <c:tx>
            <c:strRef>
              <c:f>'Inferential Statistics'!$A$44</c:f>
              <c:strCache>
                <c:ptCount val="1"/>
                <c:pt idx="0">
                  <c:v>Pump Speed (RPM)</c:v>
                </c:pt>
              </c:strCache>
            </c:strRef>
          </c:tx>
          <c:spPr>
            <a:solidFill>
              <a:schemeClr val="accent6">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4</c:f>
              <c:numCache>
                <c:formatCode>General</c:formatCode>
                <c:ptCount val="1"/>
                <c:pt idx="0">
                  <c:v>0.26001606184661846</c:v>
                </c:pt>
              </c:numCache>
            </c:numRef>
          </c:val>
          <c:extLst>
            <c:ext xmlns:c16="http://schemas.microsoft.com/office/drawing/2014/chart" uri="{C3380CC4-5D6E-409C-BE32-E72D297353CC}">
              <c16:uniqueId val="{00000005-73A9-4F52-A271-135F8A5F973D}"/>
            </c:ext>
          </c:extLst>
        </c:ser>
        <c:ser>
          <c:idx val="6"/>
          <c:order val="6"/>
          <c:tx>
            <c:strRef>
              <c:f>'Inferential Statistics'!$A$45</c:f>
              <c:strCache>
                <c:ptCount val="1"/>
                <c:pt idx="0">
                  <c:v>Horse Power</c:v>
                </c:pt>
              </c:strCache>
            </c:strRef>
          </c:tx>
          <c:spPr>
            <a:solidFill>
              <a:schemeClr val="accent6">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ferential Statistics'!$B$38</c:f>
              <c:strCache>
                <c:ptCount val="1"/>
                <c:pt idx="0">
                  <c:v>Correlation Coefficient</c:v>
                </c:pt>
              </c:strCache>
            </c:strRef>
          </c:cat>
          <c:val>
            <c:numRef>
              <c:f>'Inferential Statistics'!$B$45</c:f>
              <c:numCache>
                <c:formatCode>General</c:formatCode>
                <c:ptCount val="1"/>
                <c:pt idx="0">
                  <c:v>0.42184407404709412</c:v>
                </c:pt>
              </c:numCache>
            </c:numRef>
          </c:val>
          <c:extLst>
            <c:ext xmlns:c16="http://schemas.microsoft.com/office/drawing/2014/chart" uri="{C3380CC4-5D6E-409C-BE32-E72D297353CC}">
              <c16:uniqueId val="{00000006-73A9-4F52-A271-135F8A5F973D}"/>
            </c:ext>
          </c:extLst>
        </c:ser>
        <c:dLbls>
          <c:dLblPos val="outEnd"/>
          <c:showLegendKey val="0"/>
          <c:showVal val="1"/>
          <c:showCatName val="0"/>
          <c:showSerName val="0"/>
          <c:showPercent val="0"/>
          <c:showBubbleSize val="0"/>
        </c:dLbls>
        <c:gapWidth val="444"/>
        <c:overlap val="-90"/>
        <c:axId val="259666400"/>
        <c:axId val="955586800"/>
      </c:barChart>
      <c:catAx>
        <c:axId val="259666400"/>
        <c:scaling>
          <c:orientation val="minMax"/>
        </c:scaling>
        <c:delete val="1"/>
        <c:axPos val="b"/>
        <c:numFmt formatCode="General" sourceLinked="1"/>
        <c:majorTickMark val="none"/>
        <c:minorTickMark val="none"/>
        <c:tickLblPos val="nextTo"/>
        <c:crossAx val="955586800"/>
        <c:crosses val="autoZero"/>
        <c:auto val="1"/>
        <c:lblAlgn val="ctr"/>
        <c:lblOffset val="100"/>
        <c:noMultiLvlLbl val="0"/>
      </c:catAx>
      <c:valAx>
        <c:axId val="95558680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5966640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 0)</a:t>
            </a:r>
          </a:p>
        </cx:rich>
      </cx:tx>
    </cx:title>
    <cx:plotArea>
      <cx:plotAreaRegion>
        <cx:series layoutId="boxWhisker" uniqueId="{69EDCBC7-1EE4-46E0-8298-66CDE9840F71}">
          <cx:tx>
            <cx:txData>
              <cx:f>'DRT Rolling Mean'!$C$1</cx:f>
              <cx:v>Volumetric Flow Meter 1</cx:v>
            </cx:txData>
          </cx:tx>
          <cx:dataId val="0"/>
          <cx:layoutPr>
            <cx:visibility meanLine="0" meanMarker="1" nonoutliers="0" outliers="1"/>
            <cx:statistics quartileMethod="exclusive"/>
          </cx:layoutPr>
        </cx:series>
        <cx:series layoutId="boxWhisker" uniqueId="{7986603C-3A05-4EB7-BCD0-5F976C2756C5}">
          <cx:tx>
            <cx:txData>
              <cx:f>'DRT Rolling Mean'!$D$1</cx:f>
              <cx:v>Volumetric Flow Meter 2</cx:v>
            </cx:txData>
          </cx:tx>
          <cx:dataId val="1"/>
          <cx:layoutPr>
            <cx:visibility meanLine="0" meanMarker="1" nonoutliers="0" outliers="1"/>
            <cx:statistics quartileMethod="exclusive"/>
          </cx:layoutPr>
        </cx:series>
        <cx:series layoutId="boxWhisker" uniqueId="{EDE8B328-0FBB-4462-B2E9-88F85F88824F}">
          <cx:tx>
            <cx:txData>
              <cx:f>'DRT Rolling Mean'!$E$1</cx:f>
              <cx:v>Pump Speed (RPM)</cx:v>
            </cx:txData>
          </cx:tx>
          <cx:dataId val="2"/>
          <cx:layoutPr>
            <cx:visibility meanLine="0" meanMarker="1" nonoutliers="0" outliers="1"/>
            <cx:statistics quartileMethod="exclusive"/>
          </cx:layoutPr>
        </cx:series>
        <cx:series layoutId="boxWhisker" uniqueId="{3E79775D-8079-49A7-96F9-A63E434A9723}">
          <cx:tx>
            <cx:txData>
              <cx:f>'DRT Rolling Mean'!$F$1</cx:f>
              <cx:v>Pump Torque </cx:v>
            </cx:txData>
          </cx:tx>
          <cx:dataId val="3"/>
          <cx:layoutPr>
            <cx:visibility meanLine="0" meanMarker="1" nonoutliers="0" outliers="1"/>
            <cx:statistics quartileMethod="exclusive"/>
          </cx:layoutPr>
        </cx:series>
        <cx:series layoutId="boxWhisker" uniqueId="{1D3B1A72-C306-425A-88DB-26D6EBEDE744}">
          <cx:tx>
            <cx:txData>
              <cx:f>'DRT Rolling Mean'!$G$1</cx:f>
              <cx:v>Ambient Temperature</cx:v>
            </cx:txData>
          </cx:tx>
          <cx:dataId val="4"/>
          <cx:layoutPr>
            <cx:visibility meanLine="0" meanMarker="1" nonoutliers="0" outliers="1"/>
            <cx:statistics quartileMethod="exclusive"/>
          </cx:layoutPr>
        </cx:series>
        <cx:series layoutId="boxWhisker" uniqueId="{FF1E41E0-2E63-47A1-842A-7D34FE200E1F}">
          <cx:tx>
            <cx:txData>
              <cx:f>'DRT Rolling Mean'!$H$1</cx:f>
              <cx:v>Horse Power</cx:v>
            </cx:txData>
          </cx:tx>
          <cx:dataId val="5"/>
          <cx:layoutPr>
            <cx:visibility meanLine="0" meanMarker="1" nonoutliers="0" outliers="1"/>
            <cx:statistics quartileMethod="exclusive"/>
          </cx:layoutPr>
        </cx:series>
        <cx:series layoutId="boxWhisker" uniqueId="{33663F6D-7C61-407B-9DC0-6559F6AE6045}">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RT Rolling Mean'!$C$2:$C$1048576</cx:f>
        <cx:lvl ptCount="2401" formatCode="#,##0.00">
          <cx:pt idx="0">41.781612903225806</cx:pt>
          <cx:pt idx="1">41.786451612903221</cx:pt>
          <cx:pt idx="2">41.785161290322577</cx:pt>
          <cx:pt idx="3">41.828064516129025</cx:pt>
          <cx:pt idx="4">41.821612903225805</cx:pt>
          <cx:pt idx="5">41.806774193548385</cx:pt>
          <cx:pt idx="6">41.823870967741925</cx:pt>
          <cx:pt idx="7">41.806129032258056</cx:pt>
          <cx:pt idx="8">41.84774193548386</cx:pt>
          <cx:pt idx="9">41.904193548387092</cx:pt>
          <cx:pt idx="10">41.99903225806451</cx:pt>
          <cx:pt idx="11">42.123225806451607</cx:pt>
          <cx:pt idx="12">42.057419354838693</cx:pt>
          <cx:pt idx="13">42.107419354838697</cx:pt>
          <cx:pt idx="14">42.071290322580637</cx:pt>
          <cx:pt idx="15">41.996451612903222</cx:pt>
          <cx:pt idx="16">42.008064516129025</cx:pt>
          <cx:pt idx="17">42.048709677419346</cx:pt>
          <cx:pt idx="18">42.07322580645161</cx:pt>
          <cx:pt idx="19">42.083548387096776</cx:pt>
          <cx:pt idx="20">42.024193548387096</cx:pt>
          <cx:pt idx="21">42.02774193548386</cx:pt>
          <cx:pt idx="22">42.057096774193532</cx:pt>
          <cx:pt idx="23">41.960322580645155</cx:pt>
          <cx:pt idx="24">41.97677419354838</cx:pt>
          <cx:pt idx="25">41.927419354838705</cx:pt>
          <cx:pt idx="26">41.969999999999992</cx:pt>
          <cx:pt idx="27">41.962258064516114</cx:pt>
          <cx:pt idx="28">41.977419354838709</cx:pt>
          <cx:pt idx="29">41.922258064516129</cx:pt>
          <cx:pt idx="30">42.004516129032261</cx:pt>
          <cx:pt idx="31">42.115483870967736</cx:pt>
          <cx:pt idx="32">42.142903225806457</cx:pt>
          <cx:pt idx="33">42.112580645161295</cx:pt>
          <cx:pt idx="34">42.032258064516135</cx:pt>
          <cx:pt idx="35">42.085161290322581</cx:pt>
          <cx:pt idx="36">42.127419354838715</cx:pt>
          <cx:pt idx="37">42.04548387096775</cx:pt>
          <cx:pt idx="38">42.057419354838714</cx:pt>
          <cx:pt idx="39">42.050645161290326</cx:pt>
          <cx:pt idx="40">42.002580645161295</cx:pt>
          <cx:pt idx="41">41.985483870967741</cx:pt>
          <cx:pt idx="42">41.911612903225816</cx:pt>
          <cx:pt idx="43">41.908064516129038</cx:pt>
          <cx:pt idx="44">41.8241935483871</cx:pt>
          <cx:pt idx="45">41.824838709677422</cx:pt>
          <cx:pt idx="46">41.851290322580645</cx:pt>
          <cx:pt idx="47">41.865483870967743</cx:pt>
          <cx:pt idx="48">41.859999999999999</cx:pt>
          <cx:pt idx="49">41.848064516129028</cx:pt>
          <cx:pt idx="50">41.883870967741935</cx:pt>
          <cx:pt idx="51">41.94580645161291</cx:pt>
          <cx:pt idx="52">41.903548387096784</cx:pt>
          <cx:pt idx="53">41.872903225806461</cx:pt>
          <cx:pt idx="54">41.984516129032265</cx:pt>
          <cx:pt idx="55">41.967419354838711</cx:pt>
          <cx:pt idx="56">42.060322580645156</cx:pt>
          <cx:pt idx="57">42.026129032258062</cx:pt>
          <cx:pt idx="58">42.038387096774194</cx:pt>
          <cx:pt idx="59">42.077741935483871</cx:pt>
          <cx:pt idx="60">42.069354838709671</cx:pt>
          <cx:pt idx="61">42.013870967741923</cx:pt>
          <cx:pt idx="62">41.998709677419349</cx:pt>
          <cx:pt idx="63">41.951935483870969</cx:pt>
          <cx:pt idx="64">41.962580645161296</cx:pt>
          <cx:pt idx="65">42.04774193548387</cx:pt>
          <cx:pt idx="66">42.029032258064518</cx:pt>
          <cx:pt idx="67">41.999677419354839</cx:pt>
          <cx:pt idx="68">42.031935483870974</cx:pt>
          <cx:pt idx="69">42.058387096774197</cx:pt>
          <cx:pt idx="70">42.005806451612912</cx:pt>
          <cx:pt idx="71">42.07096774193549</cx:pt>
          <cx:pt idx="72">42.030322580645169</cx:pt>
          <cx:pt idx="73">42.036774193548396</cx:pt>
          <cx:pt idx="74">42.123225806451629</cx:pt>
          <cx:pt idx="75">42.180322580645168</cx:pt>
          <cx:pt idx="76">42.182580645161295</cx:pt>
          <cx:pt idx="77">42.233548387096775</cx:pt>
          <cx:pt idx="78">42.267419354838715</cx:pt>
          <cx:pt idx="79">42.238064516129036</cx:pt>
          <cx:pt idx="80">42.167096774193546</cx:pt>
          <cx:pt idx="81">42.192903225806454</cx:pt>
          <cx:pt idx="82">42.252580645161288</cx:pt>
          <cx:pt idx="83">42.198709677419366</cx:pt>
          <cx:pt idx="84">42.270000000000003</cx:pt>
          <cx:pt idx="85">42.174838709677424</cx:pt>
          <cx:pt idx="86">42.119677419354836</cx:pt>
          <cx:pt idx="87">42.10709677419355</cx:pt>
          <cx:pt idx="88">42.089354838709674</cx:pt>
          <cx:pt idx="89">42.00322580645161</cx:pt>
          <cx:pt idx="90">41.92258064516129</cx:pt>
          <cx:pt idx="91">42.017741935483862</cx:pt>
          <cx:pt idx="92">42.062903225806451</cx:pt>
          <cx:pt idx="93">42.053870967741922</cx:pt>
          <cx:pt idx="94">42.113225806451602</cx:pt>
          <cx:pt idx="95">42.176451612903222</cx:pt>
          <cx:pt idx="96">42.130967741935486</cx:pt>
          <cx:pt idx="97">42.084193548387091</cx:pt>
          <cx:pt idx="98">42.19483870967742</cx:pt>
          <cx:pt idx="99">42.170645161290331</cx:pt>
          <cx:pt idx="100">42.055483870967741</cx:pt>
          <cx:pt idx="101">42.172258064516136</cx:pt>
          <cx:pt idx="102">42.09129032258064</cx:pt>
          <cx:pt idx="103">42.049677419354836</cx:pt>
          <cx:pt idx="104">42.060322580645156</cx:pt>
          <cx:pt idx="105">42.009999999999998</cx:pt>
          <cx:pt idx="106">41.989999999999995</cx:pt>
          <cx:pt idx="107">41.955161290322579</cx:pt>
          <cx:pt idx="108">41.927096774193544</cx:pt>
          <cx:pt idx="109">41.906451612903226</cx:pt>
          <cx:pt idx="110">41.941935483870964</cx:pt>
          <cx:pt idx="111">42.058709677419351</cx:pt>
          <cx:pt idx="112">41.996451612903229</cx:pt>
          <cx:pt idx="113">41.912580645161299</cx:pt>
          <cx:pt idx="114">41.939677419354844</cx:pt>
          <cx:pt idx="115">41.873225806451607</cx:pt>
          <cx:pt idx="116">41.886129032258076</cx:pt>
          <cx:pt idx="117">41.945161290322588</cx:pt>
          <cx:pt idx="118">41.951612903225815</cx:pt>
          <cx:pt idx="119">41.99774193548388</cx:pt>
          <cx:pt idx="120">42.048064516129031</cx:pt>
          <cx:pt idx="121">42.064838709677424</cx:pt>
          <cx:pt idx="122">42</cx:pt>
          <cx:pt idx="123">41.900645161290321</cx:pt>
          <cx:pt idx="124">41.849677419354833</cx:pt>
          <cx:pt idx="125">41.77870967741935</cx:pt>
          <cx:pt idx="126">41.727096774193541</cx:pt>
          <cx:pt idx="127">41.715806451612906</cx:pt>
          <cx:pt idx="128">41.792580645161287</cx:pt>
          <cx:pt idx="129">41.74258064516129</cx:pt>
          <cx:pt idx="130">41.734516129032258</cx:pt>
          <cx:pt idx="131">41.741935483870968</cx:pt>
          <cx:pt idx="132">41.708387096774189</cx:pt>
          <cx:pt idx="133">41.810645161290317</cx:pt>
          <cx:pt idx="134">41.888064516129035</cx:pt>
          <cx:pt idx="135">41.816451612903222</cx:pt>
          <cx:pt idx="136">41.767096774193547</cx:pt>
          <cx:pt idx="137">41.766129032258057</cx:pt>
          <cx:pt idx="138">41.749677419354832</cx:pt>
          <cx:pt idx="139">41.763870967741937</cx:pt>
          <cx:pt idx="140">41.810645161290317</cx:pt>
          <cx:pt idx="141">41.814838709677417</cx:pt>
          <cx:pt idx="142">41.702903225806452</cx:pt>
          <cx:pt idx="143">41.733548387096775</cx:pt>
          <cx:pt idx="144">41.713870967741933</cx:pt>
          <cx:pt idx="145">41.802903225806446</cx:pt>
          <cx:pt idx="146">41.818709677419349</cx:pt>
          <cx:pt idx="147">41.899677419354845</cx:pt>
          <cx:pt idx="148">41.861935483870965</cx:pt>
          <cx:pt idx="149">41.770645161290318</cx:pt>
          <cx:pt idx="150">41.765806451612896</cx:pt>
          <cx:pt idx="151">41.734516129032251</cx:pt>
          <cx:pt idx="152">41.720645161290321</cx:pt>
          <cx:pt idx="153">41.773548387096774</cx:pt>
          <cx:pt idx="154">41.856774193548375</cx:pt>
          <cx:pt idx="155">41.830322580645159</cx:pt>
          <cx:pt idx="156">41.849032258064511</cx:pt>
          <cx:pt idx="157">41.864193548387092</cx:pt>
          <cx:pt idx="158">41.835806451612903</cx:pt>
          <cx:pt idx="159">41.81483870967741</cx:pt>
          <cx:pt idx="160">41.863870967741924</cx:pt>
          <cx:pt idx="161">41.988709677419337</cx:pt>
          <cx:pt idx="162">42.032903225806443</cx:pt>
          <cx:pt idx="163">42.056774193548371</cx:pt>
          <cx:pt idx="164">42.004516129032261</cx:pt>
          <cx:pt idx="165">42.017741935483876</cx:pt>
          <cx:pt idx="166">42.049354838709682</cx:pt>
          <cx:pt idx="167">42.055806451612916</cx:pt>
          <cx:pt idx="168">42.01483870967742</cx:pt>
          <cx:pt idx="169">42.117096774193563</cx:pt>
          <cx:pt idx="170">42.159032258064535</cx:pt>
          <cx:pt idx="171">42.097419354838721</cx:pt>
          <cx:pt idx="172">42.060000000000002</cx:pt>
          <cx:pt idx="173">42.103548387096779</cx:pt>
          <cx:pt idx="174">42.123548387096783</cx:pt>
          <cx:pt idx="175">42.140322580645162</cx:pt>
          <cx:pt idx="176">42.146451612903228</cx:pt>
          <cx:pt idx="177">42.118709677419353</cx:pt>
          <cx:pt idx="178">42.054193548387097</cx:pt>
          <cx:pt idx="179">42.085806451612903</cx:pt>
          <cx:pt idx="180">42.077096774193549</cx:pt>
          <cx:pt idx="181">42.054516129032258</cx:pt>
          <cx:pt idx="182">42.006774193548395</cx:pt>
          <cx:pt idx="183">42.111612903225812</cx:pt>
          <cx:pt idx="184">42.063548387096773</cx:pt>
          <cx:pt idx="185">42.082580645161286</cx:pt>
          <cx:pt idx="186">42.115806451612904</cx:pt>
          <cx:pt idx="187">42.140322580645162</cx:pt>
          <cx:pt idx="188">42.081290322580635</cx:pt>
          <cx:pt idx="189">42.147741935483864</cx:pt>
          <cx:pt idx="190">42.118709677419346</cx:pt>
          <cx:pt idx="191">42.072903225806449</cx:pt>
          <cx:pt idx="192">42.043225806451609</cx:pt>
          <cx:pt idx="193">41.999677419354832</cx:pt>
          <cx:pt idx="194">41.985161290322587</cx:pt>
          <cx:pt idx="195">41.954516129032264</cx:pt>
          <cx:pt idx="196">41.941935483870978</cx:pt>
          <cx:pt idx="197">42.010967741935488</cx:pt>
          <cx:pt idx="198">42.071935483870973</cx:pt>
          <cx:pt idx="199">42.196129032258071</cx:pt>
          <cx:pt idx="200">42.127096774193554</cx:pt>
          <cx:pt idx="201">42.085161290322588</cx:pt>
          <cx:pt idx="202">42.180645161290336</cx:pt>
          <cx:pt idx="203">42.172258064516143</cx:pt>
          <cx:pt idx="204">42.219354838709691</cx:pt>
          <cx:pt idx="205">42.22129032258065</cx:pt>
          <cx:pt idx="206">42.267741935483876</cx:pt>
          <cx:pt idx="207">42.203870967741942</cx:pt>
          <cx:pt idx="208">42.299999999999997</cx:pt>
          <cx:pt idx="209">42.285483870967738</cx:pt>
          <cx:pt idx="210">42.248709677419356</cx:pt>
          <cx:pt idx="211">42.281612903225806</cx:pt>
          <cx:pt idx="212">42.345806451612894</cx:pt>
          <cx:pt idx="213">42.42677419354839</cx:pt>
          <cx:pt idx="214">42.423225806451612</cx:pt>
          <cx:pt idx="215">42.434193548387086</cx:pt>
          <cx:pt idx="216">42.395161290322577</cx:pt>
          <cx:pt idx="217">42.464193548387094</cx:pt>
          <cx:pt idx="218">42.553870967741929</cx:pt>
          <cx:pt idx="219">42.630967741935486</cx:pt>
          <cx:pt idx="220">42.621612903225802</cx:pt>
          <cx:pt idx="221">42.634516129032264</cx:pt>
          <cx:pt idx="222">42.668709677419365</cx:pt>
          <cx:pt idx="223">42.715806451612906</cx:pt>
          <cx:pt idx="224">42.815483870967746</cx:pt>
          <cx:pt idx="225">42.808064516129036</cx:pt>
          <cx:pt idx="226">42.854516129032262</cx:pt>
          <cx:pt idx="227">42.924193548387109</cx:pt>
          <cx:pt idx="228">42.895161290322598</cx:pt>
          <cx:pt idx="229">42.922580645161297</cx:pt>
          <cx:pt idx="230">42.925161290322592</cx:pt>
          <cx:pt idx="231">42.940000000000012</cx:pt>
          <cx:pt idx="232">42.981290322580655</cx:pt>
          <cx:pt idx="233">42.921290322580653</cx:pt>
          <cx:pt idx="234">42.982580645161292</cx:pt>
          <cx:pt idx="235">42.965483870967745</cx:pt>
          <cx:pt idx="236">42.934193548387107</cx:pt>
          <cx:pt idx="237">42.950322580645171</cx:pt>
          <cx:pt idx="238">43.037741935483879</cx:pt>
          <cx:pt idx="239">42.998387096774209</cx:pt>
          <cx:pt idx="240">43.04645161290324</cx:pt>
          <cx:pt idx="241">43.104516129032262</cx:pt>
          <cx:pt idx="242">43.178387096774202</cx:pt>
          <cx:pt idx="243">43.20129032258064</cx:pt>
          <cx:pt idx="244">43.273225806451613</cx:pt>
          <cx:pt idx="245">43.289032258064509</cx:pt>
          <cx:pt idx="246">43.379354838709659</cx:pt>
          <cx:pt idx="247">43.415483870967734</cx:pt>
          <cx:pt idx="248">43.402580645161279</cx:pt>
          <cx:pt idx="249">43.405161290322575</cx:pt>
          <cx:pt idx="250">43.427741935483866</cx:pt>
          <cx:pt idx="251">43.449354838709667</cx:pt>
          <cx:pt idx="252">43.474193548387092</cx:pt>
          <cx:pt idx="253">43.444516129032259</cx:pt>
          <cx:pt idx="254">43.369032258064507</cx:pt>
          <cx:pt idx="255">43.362258064516119</cx:pt>
          <cx:pt idx="256">43.335806451612889</cx:pt>
          <cx:pt idx="257">43.370322580645144</cx:pt>
          <cx:pt idx="258">43.258387096774186</cx:pt>
          <cx:pt idx="259">43.250967741935483</cx:pt>
          <cx:pt idx="260">43.240322580645163</cx:pt>
          <cx:pt idx="261">43.140967741935491</cx:pt>
          <cx:pt idx="262">43.156451612903233</cx:pt>
          <cx:pt idx="263">43.038064516129047</cx:pt>
          <cx:pt idx="264">43.027741935483888</cx:pt>
          <cx:pt idx="265">43.038387096774208</cx:pt>
          <cx:pt idx="266">43.003548387096785</cx:pt>
          <cx:pt idx="267">43.055483870967755</cx:pt>
          <cx:pt idx="268">43.041612903225811</cx:pt>
          <cx:pt idx="269">42.949354838709681</cx:pt>
          <cx:pt idx="270">42.94161290322581</cx:pt>
          <cx:pt idx="271">42.975806451612897</cx:pt>
          <cx:pt idx="272">42.873548387096783</cx:pt>
          <cx:pt idx="273">42.872903225806446</cx:pt>
          <cx:pt idx="274">42.778064516129028</cx:pt>
          <cx:pt idx="275">42.70548387096774</cx:pt>
          <cx:pt idx="276">42.667741935483882</cx:pt>
          <cx:pt idx="277">42.597741935483874</cx:pt>
          <cx:pt idx="278">42.584193548387098</cx:pt>
          <cx:pt idx="279">42.533548387096779</cx:pt>
          <cx:pt idx="280">42.398064516129047</cx:pt>
          <cx:pt idx="281">42.305161290322602</cx:pt>
          <cx:pt idx="282">42.279354838709686</cx:pt>
          <cx:pt idx="283">42.25516129032259</cx:pt>
          <cx:pt idx="284">42.189032258064522</cx:pt>
          <cx:pt idx="285">42.179677419354846</cx:pt>
          <cx:pt idx="286">42.197419354838708</cx:pt>
          <cx:pt idx="287">42.150967741935489</cx:pt>
          <cx:pt idx="288">42.141935483870974</cx:pt>
          <cx:pt idx="289">42.152903225806455</cx:pt>
          <cx:pt idx="290">42.190967741935495</cx:pt>
          <cx:pt idx="291">42.149032258064523</cx:pt>
          <cx:pt idx="292">42.141290322580652</cx:pt>
          <cx:pt idx="293">42.079032258064515</cx:pt>
          <cx:pt idx="294">42.188064516129032</cx:pt>
          <cx:pt idx="295">42.134193548387096</cx:pt>
          <cx:pt idx="296">42.025806451612901</cx:pt>
          <cx:pt idx="297">42.097419354838706</cx:pt>
          <cx:pt idx="298">41.986774193548385</cx:pt>
          <cx:pt idx="299">41.961612903225799</cx:pt>
          <cx:pt idx="300">42.008064516129025</cx:pt>
          <cx:pt idx="301">41.994193548387095</cx:pt>
          <cx:pt idx="302">41.8732258064516</cx:pt>
          <cx:pt idx="303">41.892580645161281</cx:pt>
          <cx:pt idx="304">41.856129032258046</cx:pt>
          <cx:pt idx="305">41.881935483870969</cx:pt>
          <cx:pt idx="306">41.850967741935477</cx:pt>
          <cx:pt idx="307">41.821290322580644</cx:pt>
          <cx:pt idx="308">41.765483870967742</cx:pt>
          <cx:pt idx="309">41.764838709677427</cx:pt>
          <cx:pt idx="310">41.813870967741941</cx:pt>
          <cx:pt idx="311">41.881935483870976</cx:pt>
          <cx:pt idx="312">41.865161290322575</cx:pt>
          <cx:pt idx="313">41.915806451612902</cx:pt>
          <cx:pt idx="314">41.862580645161287</cx:pt>
          <cx:pt idx="315">41.94903225806452</cx:pt>
          <cx:pt idx="316">41.994193548387095</cx:pt>
          <cx:pt idx="317">41.962258064516128</cx:pt>
          <cx:pt idx="318">41.954838709677425</cx:pt>
          <cx:pt idx="319">41.893225806451618</cx:pt>
          <cx:pt idx="320">41.925161290322585</cx:pt>
          <cx:pt idx="321">41.937096774193549</cx:pt>
          <cx:pt idx="322">41.992258064516122</cx:pt>
          <cx:pt idx="323">41.986451612903224</cx:pt>
          <cx:pt idx="324">42.046451612903226</cx:pt>
          <cx:pt idx="325">42.0616129032258</cx:pt>
          <cx:pt idx="326">42.124838709677412</cx:pt>
          <cx:pt idx="327">42.16096774193548</cx:pt>
          <cx:pt idx="328">42.073225806451603</cx:pt>
          <cx:pt idx="329">42.143870967741933</cx:pt>
          <cx:pt idx="330">42.19483870967742</cx:pt>
          <cx:pt idx="331">42.097096774193545</cx:pt>
          <cx:pt idx="332">42.089677419354835</cx:pt>
          <cx:pt idx="333">42.109999999999999</cx:pt>
          <cx:pt idx="334">42.094838709677418</cx:pt>
          <cx:pt idx="335">42.031612903225806</cx:pt>
          <cx:pt idx="336">42.066129032258068</cx:pt>
          <cx:pt idx="337">42.076774193548381</cx:pt>
          <cx:pt idx="338">42.115483870967743</cx:pt>
          <cx:pt idx="339">42.194193548387105</cx:pt>
          <cx:pt idx="340">42.120000000000012</cx:pt>
          <cx:pt idx="341">42.13741935483872</cx:pt>
          <cx:pt idx="342">42.062258064516129</cx:pt>
          <cx:pt idx="343">42.163548387096782</cx:pt>
          <cx:pt idx="344">42.164516129032265</cx:pt>
          <cx:pt idx="345">42.163548387096775</cx:pt>
          <cx:pt idx="346">42.069354838709678</cx:pt>
          <cx:pt idx="347">42.091290322580633</cx:pt>
          <cx:pt idx="348">42.11354838709677</cx:pt>
          <cx:pt idx="349">42.168709677419358</cx:pt>
          <cx:pt idx="350">42.231290322580648</cx:pt>
          <cx:pt idx="351">42.226774193548394</cx:pt>
          <cx:pt idx="352">42.216129032258067</cx:pt>
          <cx:pt idx="353">42.143548387096779</cx:pt>
          <cx:pt idx="354">42.147741935483872</cx:pt>
          <cx:pt idx="355">42.119032258064507</cx:pt>
          <cx:pt idx="356">42.063225806451605</cx:pt>
          <cx:pt idx="357">42.12096774193548</cx:pt>
          <cx:pt idx="358">42.111612903225797</cx:pt>
          <cx:pt idx="359">42.115483870967736</cx:pt>
          <cx:pt idx="360">42.138387096774203</cx:pt>
          <cx:pt idx="361">42.130645161290339</cx:pt>
          <cx:pt idx="362">42.231935483870977</cx:pt>
          <cx:pt idx="363">42.186774193548395</cx:pt>
          <cx:pt idx="364">42.206129032258069</cx:pt>
          <cx:pt idx="365">42.200322580645164</cx:pt>
          <cx:pt idx="366">42.277096774193552</cx:pt>
          <cx:pt idx="367">42.217741935483879</cx:pt>
          <cx:pt idx="368">42.180000000000007</cx:pt>
          <cx:pt idx="369">42.165806451612909</cx:pt>
          <cx:pt idx="370">42.104193548387094</cx:pt>
          <cx:pt idx="371">42.193225806451615</cx:pt>
          <cx:pt idx="372">42.150322580645167</cx:pt>
          <cx:pt idx="373">42.214193548387101</cx:pt>
          <cx:pt idx="374">42.217096774193557</cx:pt>
          <cx:pt idx="375">42.187419354838717</cx:pt>
          <cx:pt idx="376">42.181290322580658</cx:pt>
          <cx:pt idx="377">42.215161290322584</cx:pt>
          <cx:pt idx="378">42.119354838709675</cx:pt>
          <cx:pt idx="379">42.101290322580645</cx:pt>
          <cx:pt idx="380">42.090645161290318</cx:pt>
          <cx:pt idx="381">41.993870967741934</cx:pt>
          <cx:pt idx="382">41.957419354838706</cx:pt>
          <cx:pt idx="383">41.87580645161291</cx:pt>
          <cx:pt idx="384">41.89806451612904</cx:pt>
          <cx:pt idx="385">41.961935483870967</cx:pt>
          <cx:pt idx="386">41.950645161290325</cx:pt>
          <cx:pt idx="387">42.009999999999998</cx:pt>
          <cx:pt idx="388">41.992258064516129</cx:pt>
          <cx:pt idx="389">42.012580645161286</cx:pt>
          <cx:pt idx="390">41.999677419354839</cx:pt>
          <cx:pt idx="391">41.972580645161287</cx:pt>
          <cx:pt idx="392">41.955483870967733</cx:pt>
          <cx:pt idx="393">41.895483870967738</cx:pt>
          <cx:pt idx="394">41.915161290322573</cx:pt>
          <cx:pt idx="395">41.966774193548375</cx:pt>
          <cx:pt idx="396">42.030322580645155</cx:pt>
          <cx:pt idx="397">42.002580645161281</cx:pt>
          <cx:pt idx="398">41.985161290322566</cx:pt>
          <cx:pt idx="399">41.969354838709663</cx:pt>
          <cx:pt idx="400">41.903225806451609</cx:pt>
          <cx:pt idx="401">41.893548387096772</cx:pt>
          <cx:pt idx="402">41.789677419354838</cx:pt>
          <cx:pt idx="403">41.799999999999997</cx:pt>
          <cx:pt idx="404">41.729032258064514</cx:pt>
          <cx:pt idx="405">41.611935483870965</cx:pt>
          <cx:pt idx="406">41.628387096774198</cx:pt>
          <cx:pt idx="407">41.719677419354838</cx:pt>
          <cx:pt idx="408">41.722903225806455</cx:pt>
          <cx:pt idx="409">41.811612903225807</cx:pt>
          <cx:pt idx="410">41.791290322580643</cx:pt>
          <cx:pt idx="411">41.746451612903229</cx:pt>
          <cx:pt idx="412">41.812903225806451</cx:pt>
          <cx:pt idx="413">41.882580645161305</cx:pt>
          <cx:pt idx="414">41.877096774193561</cx:pt>
          <cx:pt idx="415">41.914838709677433</cx:pt>
          <cx:pt idx="416">41.920967741935492</cx:pt>
          <cx:pt idx="417">41.887419354838727</cx:pt>
          <cx:pt idx="418">41.77419354838711</cx:pt>
          <cx:pt idx="419">41.778387096774196</cx:pt>
          <cx:pt idx="420">41.775806451612901</cx:pt>
          <cx:pt idx="421">41.753870967741925</cx:pt>
          <cx:pt idx="422">41.805483870967734</cx:pt>
          <cx:pt idx="423">41.801935483870963</cx:pt>
          <cx:pt idx="424">41.760967741935474</cx:pt>
          <cx:pt idx="425">41.779999999999994</cx:pt>
          <cx:pt idx="426">41.782580645161282</cx:pt>
          <cx:pt idx="427">41.723225806451609</cx:pt>
          <cx:pt idx="428">41.78290322580645</cx:pt>
          <cx:pt idx="429">41.858387096774202</cx:pt>
          <cx:pt idx="430">41.882258064516137</cx:pt>
          <cx:pt idx="431">41.869677419354851</cx:pt>
          <cx:pt idx="432">41.871290322580656</cx:pt>
          <cx:pt idx="433">41.89290322580645</cx:pt>
          <cx:pt idx="434">41.821290322580637</cx:pt>
          <cx:pt idx="435">41.866451612903219</cx:pt>
          <cx:pt idx="436">41.915806451612902</cx:pt>
          <cx:pt idx="437">41.938064516129032</cx:pt>
          <cx:pt idx="438">41.883870967741935</cx:pt>
          <cx:pt idx="439">41.889032258064518</cx:pt>
          <cx:pt idx="440">41.851612903225799</cx:pt>
          <cx:pt idx="441">41.807419354838707</cx:pt>
          <cx:pt idx="442">41.811290322580646</cx:pt>
          <cx:pt idx="443">41.817741935483873</cx:pt>
          <cx:pt idx="444">41.714193548387101</cx:pt>
          <cx:pt idx="445">41.819999999999993</cx:pt>
          <cx:pt idx="446">41.776774193548384</cx:pt>
          <cx:pt idx="447">41.72774193548387</cx:pt>
          <cx:pt idx="448">41.732903225806446</cx:pt>
          <cx:pt idx="449">41.824838709677408</cx:pt>
          <cx:pt idx="450">41.769999999999996</cx:pt>
          <cx:pt idx="451">41.755483870967737</cx:pt>
          <cx:pt idx="452">41.793225806451609</cx:pt>
          <cx:pt idx="453">41.777741935483867</cx:pt>
          <cx:pt idx="454">41.719354838709677</cx:pt>
          <cx:pt idx="455">41.807096774193553</cx:pt>
          <cx:pt idx="456">41.798709677419353</cx:pt>
          <cx:pt idx="457">41.71387096774194</cx:pt>
          <cx:pt idx="458">41.714838709677423</cx:pt>
          <cx:pt idx="459">41.725161290322582</cx:pt>
          <cx:pt idx="460">41.720645161290321</cx:pt>
          <cx:pt idx="461">41.765161290322581</cx:pt>
          <cx:pt idx="462">41.878387096774198</cx:pt>
          <cx:pt idx="463">41.899354838709691</cx:pt>
          <cx:pt idx="464">41.993225806451612</cx:pt>
          <cx:pt idx="465">42.038064516129033</cx:pt>
          <cx:pt idx="466">42.051290322580655</cx:pt>
          <cx:pt idx="467">42.084516129032252</cx:pt>
          <cx:pt idx="468">42.027419354838713</cx:pt>
          <cx:pt idx="469">41.969677419354845</cx:pt>
          <cx:pt idx="470">42.04032258064516</cx:pt>
          <cx:pt idx="471">41.977419354838702</cx:pt>
          <cx:pt idx="472">42.049677419354836</cx:pt>
          <cx:pt idx="473">42.150322580645167</cx:pt>
          <cx:pt idx="474">42.111935483870965</cx:pt>
          <cx:pt idx="475">42.118387096774192</cx:pt>
          <cx:pt idx="476">42.055806451612909</cx:pt>
          <cx:pt idx="477">42.08483870967742</cx:pt>
          <cx:pt idx="478">42.150645161290328</cx:pt>
          <cx:pt idx="479">42.257419354838703</cx:pt>
          <cx:pt idx="480">42.21838709677418</cx:pt>
          <cx:pt idx="481">42.197741935483855</cx:pt>
          <cx:pt idx="482">42.154516129032245</cx:pt>
          <cx:pt idx="483">42.159032258064506</cx:pt>
          <cx:pt idx="484">42.121290322580627</cx:pt>
          <cx:pt idx="485">42.216774193548382</cx:pt>
          <cx:pt idx="486">42.128709677419344</cx:pt>
          <cx:pt idx="487">42.102258064516128</cx:pt>
          <cx:pt idx="488">42.122258064516124</cx:pt>
          <cx:pt idx="489">42.166774193548392</cx:pt>
          <cx:pt idx="490">42.126774193548393</cx:pt>
          <cx:pt idx="491">42.108064516129041</cx:pt>
          <cx:pt idx="492">42.125161290322588</cx:pt>
          <cx:pt idx="493">42.120645161290341</cx:pt>
          <cx:pt idx="494">42.126451612903232</cx:pt>
          <cx:pt idx="495">42.005161290322583</cx:pt>
          <cx:pt idx="496">41.991290322580646</cx:pt>
          <cx:pt idx="497">41.943548387096783</cx:pt>
          <cx:pt idx="498">41.865806451612904</cx:pt>
          <cx:pt idx="499">41.921290322580653</cx:pt>
          <cx:pt idx="500">42.017419354838715</cx:pt>
          <cx:pt idx="501">41.974193548387106</cx:pt>
          <cx:pt idx="502">42.060967741935485</cx:pt>
          <cx:pt idx="503">41.997096774193551</cx:pt>
          <cx:pt idx="504">41.960645161290323</cx:pt>
          <cx:pt idx="505">41.96387096774194</cx:pt>
          <cx:pt idx="506">42.077741935483871</cx:pt>
          <cx:pt idx="507">42.132903225806459</cx:pt>
          <cx:pt idx="508">42.123548387096768</cx:pt>
          <cx:pt idx="509">42.124838709677412</cx:pt>
          <cx:pt idx="510">42.111935483870965</cx:pt>
          <cx:pt idx="511">42.123548387096768</cx:pt>
          <cx:pt idx="512">42.102580645161282</cx:pt>
          <cx:pt idx="513">42.200967741935479</cx:pt>
          <cx:pt idx="514">42.199677419354835</cx:pt>
          <cx:pt idx="515">42.220645161290314</cx:pt>
          <cx:pt idx="516">42.188709677419354</cx:pt>
          <cx:pt idx="517">42.25645161290322</cx:pt>
          <cx:pt idx="518">42.350967741935484</cx:pt>
          <cx:pt idx="519">42.369032258064514</cx:pt>
          <cx:pt idx="520">42.349032258064518</cx:pt>
          <cx:pt idx="521">42.328709677419354</cx:pt>
          <cx:pt idx="522">42.293870967741938</cx:pt>
          <cx:pt idx="523">42.250000000000007</cx:pt>
          <cx:pt idx="524">42.255806451612912</cx:pt>
          <cx:pt idx="525">42.193225806451622</cx:pt>
          <cx:pt idx="526">42.29129032258065</cx:pt>
          <cx:pt idx="527">42.331290322580649</cx:pt>
          <cx:pt idx="528">42.396129032258074</cx:pt>
          <cx:pt idx="529">42.402580645161301</cx:pt>
          <cx:pt idx="530">42.310000000000009</cx:pt>
          <cx:pt idx="531">42.277096774193552</cx:pt>
          <cx:pt idx="532">42.263870967741944</cx:pt>
          <cx:pt idx="533">42.234516129032265</cx:pt>
          <cx:pt idx="534">42.258709677419368</cx:pt>
          <cx:pt idx="535">42.293225806451609</cx:pt>
          <cx:pt idx="536">42.307741935483868</cx:pt>
          <cx:pt idx="537">42.267741935483876</cx:pt>
          <cx:pt idx="538">42.257741935483871</cx:pt>
          <cx:pt idx="539">42.179354838709678</cx:pt>
          <cx:pt idx="540">42.172903225806458</cx:pt>
          <cx:pt idx="541">42.061612903225807</cx:pt>
          <cx:pt idx="542">41.985806451612909</cx:pt>
          <cx:pt idx="543">42.018387096774205</cx:pt>
          <cx:pt idx="544">41.998387096774202</cx:pt>
          <cx:pt idx="545">41.990645161290338</cx:pt>
          <cx:pt idx="546">41.911290322580662</cx:pt>
          <cx:pt idx="547">41.940645161290334</cx:pt>
          <cx:pt idx="548">41.892258064516142</cx:pt>
          <cx:pt idx="549">41.899354838709691</cx:pt>
          <cx:pt idx="550">41.970645161290328</cx:pt>
          <cx:pt idx="551">41.983870967741943</cx:pt>
          <cx:pt idx="552">42.010645161290327</cx:pt>
          <cx:pt idx="553">42.062258064516136</cx:pt>
          <cx:pt idx="554">42.083548387096783</cx:pt>
          <cx:pt idx="555">41.992580645161297</cx:pt>
          <cx:pt idx="556">41.989677419354841</cx:pt>
          <cx:pt idx="557">41.892258064516128</cx:pt>
          <cx:pt idx="558">41.819677419354832</cx:pt>
          <cx:pt idx="559">41.798064516129024</cx:pt>
          <cx:pt idx="560">41.824193548387086</cx:pt>
          <cx:pt idx="561">41.80419354838709</cx:pt>
          <cx:pt idx="562">41.757096774193542</cx:pt>
          <cx:pt idx="563">41.727419354838702</cx:pt>
          <cx:pt idx="564">41.697419354838701</cx:pt>
          <cx:pt idx="565">41.697741935483862</cx:pt>
          <cx:pt idx="566">41.609999999999985</cx:pt>
          <cx:pt idx="567">41.668709677419344</cx:pt>
          <cx:pt idx="568">41.632580645161269</cx:pt>
          <cx:pt idx="569">41.551612903225802</cx:pt>
          <cx:pt idx="570">41.601290322580638</cx:pt>
          <cx:pt idx="571">41.563225806451605</cx:pt>
          <cx:pt idx="572">41.636129032258061</cx:pt>
          <cx:pt idx="573">41.701290322580647</cx:pt>
          <cx:pt idx="574">41.674193548387102</cx:pt>
          <cx:pt idx="575">41.715483870967752</cx:pt>
          <cx:pt idx="576">41.769032258064527</cx:pt>
          <cx:pt idx="577">41.806451612903238</cx:pt>
          <cx:pt idx="578">41.729032258064528</cx:pt>
          <cx:pt idx="579">41.757419354838724</cx:pt>
          <cx:pt idx="580">41.712903225806457</cx:pt>
          <cx:pt idx="581">41.586774193548386</cx:pt>
          <cx:pt idx="582">41.566451612903236</cx:pt>
          <cx:pt idx="583">41.556774193548385</cx:pt>
          <cx:pt idx="584">41.465161290322577</cx:pt>
          <cx:pt idx="585">41.479354838709675</cx:pt>
          <cx:pt idx="586">41.476129032258065</cx:pt>
          <cx:pt idx="587">41.603548387096772</cx:pt>
          <cx:pt idx="588">41.677096774193551</cx:pt>
          <cx:pt idx="589">41.758064516129025</cx:pt>
          <cx:pt idx="590">41.765161290322574</cx:pt>
          <cx:pt idx="591">41.809677419354834</cx:pt>
          <cx:pt idx="592">41.927419354838712</cx:pt>
          <cx:pt idx="593">42.021612903225801</cx:pt>
          <cx:pt idx="594">42.027419354838706</cx:pt>
          <cx:pt idx="595">42.085806451612896</cx:pt>
          <cx:pt idx="596">42.132580645161291</cx:pt>
          <cx:pt idx="597">42.123548387096768</cx:pt>
          <cx:pt idx="598">42.100322580645155</cx:pt>
          <cx:pt idx="599">42.078064516129032</cx:pt>
          <cx:pt idx="600">42.105483870967738</cx:pt>
          <cx:pt idx="601">42.16935483870968</cx:pt>
          <cx:pt idx="602">42.254838709677415</cx:pt>
          <cx:pt idx="603">42.291290322580643</cx:pt>
          <cx:pt idx="604">42.356774193548389</cx:pt>
          <cx:pt idx="605">42.478064516129038</cx:pt>
          <cx:pt idx="606">42.483870967741943</cx:pt>
          <cx:pt idx="607">42.490322580645163</cx:pt>
          <cx:pt idx="608">42.548064516129031</cx:pt>
          <cx:pt idx="609">42.621612903225817</cx:pt>
          <cx:pt idx="610">42.715806451612906</cx:pt>
          <cx:pt idx="611">42.722903225806455</cx:pt>
          <cx:pt idx="612">42.829354838709669</cx:pt>
          <cx:pt idx="613">42.886774193548383</cx:pt>
          <cx:pt idx="614">42.923548387096766</cx:pt>
          <cx:pt idx="615">42.999999999999993</cx:pt>
          <cx:pt idx="616">42.977419354838702</cx:pt>
          <cx:pt idx="617">43.026774193548377</cx:pt>
          <cx:pt idx="618">43.041612903225804</cx:pt>
          <cx:pt idx="619">43.111935483870965</cx:pt>
          <cx:pt idx="620">43.084193548387091</cx:pt>
          <cx:pt idx="621">43.180967741935483</cx:pt>
          <cx:pt idx="622">43.229354838709682</cx:pt>
          <cx:pt idx="623">43.193548387096783</cx:pt>
          <cx:pt idx="624">43.222580645161287</cx:pt>
          <cx:pt idx="625">43.274516129032264</cx:pt>
          <cx:pt idx="626">43.286129032258067</cx:pt>
          <cx:pt idx="627">43.312903225806458</cx:pt>
          <cx:pt idx="628">43.402903225806469</cx:pt>
          <cx:pt idx="629">43.442580645161307</cx:pt>
          <cx:pt idx="630">43.51451612903228</cx:pt>
          <cx:pt idx="631">43.546129032258079</cx:pt>
          <cx:pt idx="632">43.520967741935493</cx:pt>
          <cx:pt idx="633">43.514193548387105</cx:pt>
          <cx:pt idx="634">43.534838709677423</cx:pt>
          <cx:pt idx="635">43.474193548387106</cx:pt>
          <cx:pt idx="636">43.469677419354845</cx:pt>
          <cx:pt idx="637">43.496451612903222</cx:pt>
          <cx:pt idx="638">43.509677419354844</cx:pt>
          <cx:pt idx="639">43.469677419354845</cx:pt>
          <cx:pt idx="640">43.495161290322585</cx:pt>
          <cx:pt idx="641">43.497419354838712</cx:pt>
          <cx:pt idx="642">43.54774193548387</cx:pt>
          <cx:pt idx="643">43.531290322580645</cx:pt>
          <cx:pt idx="644">43.557419354838707</cx:pt>
          <cx:pt idx="645">43.503870967741932</cx:pt>
          <cx:pt idx="646">43.429354838709678</cx:pt>
          <cx:pt idx="647">43.400322580645167</cx:pt>
          <cx:pt idx="648">43.342580645161291</cx:pt>
          <cx:pt idx="649">43.270967741935486</cx:pt>
          <cx:pt idx="650">43.202580645161298</cx:pt>
          <cx:pt idx="651">43.249032258064524</cx:pt>
          <cx:pt idx="652">43.130322580645171</cx:pt>
          <cx:pt idx="653">43.054838709677426</cx:pt>
          <cx:pt idx="654">43.063225806451619</cx:pt>
          <cx:pt idx="655">42.94483870967742</cx:pt>
          <cx:pt idx="656">42.872258064516124</cx:pt>
          <cx:pt idx="657">42.756774193548388</cx:pt>
          <cx:pt idx="658">42.654838709677421</cx:pt>
          <cx:pt idx="659">42.610645161290314</cx:pt>
          <cx:pt idx="660">42.511935483870957</cx:pt>
          <cx:pt idx="661">42.416451612903224</cx:pt>
          <cx:pt idx="662">42.351612903225799</cx:pt>
          <cx:pt idx="663">42.353548387096765</cx:pt>
          <cx:pt idx="664">42.29999999999999</cx:pt>
          <cx:pt idx="665">42.224838709677414</cx:pt>
          <cx:pt idx="666">42.264516129032252</cx:pt>
          <cx:pt idx="667">42.206451612903223</cx:pt>
          <cx:pt idx="668">42.114838709677414</cx:pt>
          <cx:pt idx="669">42.113548387096763</cx:pt>
          <cx:pt idx="670">42.056129032258056</cx:pt>
          <cx:pt idx="671">41.972580645161294</cx:pt>
          <cx:pt idx="672">41.911935483870977</cx:pt>
          <cx:pt idx="673">41.863225806451617</cx:pt>
          <cx:pt idx="674">41.790967741935489</cx:pt>
          <cx:pt idx="675">41.780000000000001</cx:pt>
          <cx:pt idx="676">41.790645161290328</cx:pt>
          <cx:pt idx="677">41.804838709677426</cx:pt>
          <cx:pt idx="678">41.818387096774195</cx:pt>
          <cx:pt idx="679">41.875483870967749</cx:pt>
          <cx:pt idx="680">41.874516129032266</cx:pt>
          <cx:pt idx="681">41.882903225806466</cx:pt>
          <cx:pt idx="682">41.83483870967742</cx:pt>
          <cx:pt idx="683">41.838064516129023</cx:pt>
          <cx:pt idx="684">41.88064516129031</cx:pt>
          <cx:pt idx="685">41.787741935483865</cx:pt>
          <cx:pt idx="686">41.814193548387088</cx:pt>
          <cx:pt idx="687">41.834516129032252</cx:pt>
          <cx:pt idx="688">41.875483870967727</cx:pt>
          <cx:pt idx="689">41.959032258064511</cx:pt>
          <cx:pt idx="690">41.944516129032252</cx:pt>
          <cx:pt idx="691">41.939677419354837</cx:pt>
          <cx:pt idx="692">42.03612903225806</cx:pt>
          <cx:pt idx="693">42.057741935483868</cx:pt>
          <cx:pt idx="694">41.990645161290317</cx:pt>
          <cx:pt idx="695">41.93096774193549</cx:pt>
          <cx:pt idx="696">41.948064516129037</cx:pt>
          <cx:pt idx="697">41.938709677419361</cx:pt>
          <cx:pt idx="698">41.868064516129046</cx:pt>
          <cx:pt idx="699">41.904193548387099</cx:pt>
          <cx:pt idx="700">41.865806451612897</cx:pt>
          <cx:pt idx="701">41.92677419354839</cx:pt>
          <cx:pt idx="702">41.923870967741934</cx:pt>
          <cx:pt idx="703">41.893870967741933</cx:pt>
          <cx:pt idx="704">41.921290322580646</cx:pt>
          <cx:pt idx="705">42.006774193548381</cx:pt>
          <cx:pt idx="706">41.989354838709673</cx:pt>
          <cx:pt idx="707">42.009032258064508</cx:pt>
          <cx:pt idx="708">42.054516129032251</cx:pt>
          <cx:pt idx="709">42.101290322580645</cx:pt>
          <cx:pt idx="710">42.091290322580647</cx:pt>
          <cx:pt idx="711">42.080645161290327</cx:pt>
          <cx:pt idx="712">42.007096774193549</cx:pt>
          <cx:pt idx="713">41.977419354838716</cx:pt>
          <cx:pt idx="714">42.009677419354837</cx:pt>
          <cx:pt idx="715">41.93645161290322</cx:pt>
          <cx:pt idx="716">41.969999999999992</cx:pt>
          <cx:pt idx="717">42.016774193548379</cx:pt>
          <cx:pt idx="718">42.095161290322572</cx:pt>
          <cx:pt idx="719">42.09451612903225</cx:pt>
          <cx:pt idx="720">42.071935483870959</cx:pt>
          <cx:pt idx="721">42.094838709677411</cx:pt>
          <cx:pt idx="722">42.132258064516115</cx:pt>
          <cx:pt idx="723">42.031290322580638</cx:pt>
          <cx:pt idx="724">42.091935483870948</cx:pt>
          <cx:pt idx="725">42.132258064516115</cx:pt>
          <cx:pt idx="726">42.152258064516118</cx:pt>
          <cx:pt idx="727">42.090967741935472</cx:pt>
          <cx:pt idx="728">42.072903225806449</cx:pt>
          <cx:pt idx="729">42.163548387096782</cx:pt>
          <cx:pt idx="730">42.100645161290316</cx:pt>
          <cx:pt idx="731">42.112903225806448</cx:pt>
          <cx:pt idx="732">42.072580645161281</cx:pt>
          <cx:pt idx="733">42.029032258064518</cx:pt>
          <cx:pt idx="734">42.052903225806446</cx:pt>
          <cx:pt idx="735">42.046129032258058</cx:pt>
          <cx:pt idx="736">42.042580645161287</cx:pt>
          <cx:pt idx="737">41.977096774193541</cx:pt>
          <cx:pt idx="738">41.965483870967738</cx:pt>
          <cx:pt idx="739">41.963870967741933</cx:pt>
          <cx:pt idx="740">41.891612903225806</cx:pt>
          <cx:pt idx="741">41.925806451612907</cx:pt>
          <cx:pt idx="742">41.981290322580641</cx:pt>
          <cx:pt idx="743">42.034838709677416</cx:pt>
          <cx:pt idx="744">42.095161290322579</cx:pt>
          <cx:pt idx="745">42.137741935483874</cx:pt>
          <cx:pt idx="746">42.121290322580641</cx:pt>
          <cx:pt idx="747">42.186774193548388</cx:pt>
          <cx:pt idx="748">42.163225806451614</cx:pt>
          <cx:pt idx="749">42.133225806451627</cx:pt>
          <cx:pt idx="750">42.163548387096775</cx:pt>
          <cx:pt idx="751">42.117741935483863</cx:pt>
          <cx:pt idx="752">42.047096774193541</cx:pt>
          <cx:pt idx="753">42.061290322580632</cx:pt>
          <cx:pt idx="754">42.073870967741925</cx:pt>
          <cx:pt idx="755">42.017419354838694</cx:pt>
          <cx:pt idx="756">41.999677419354825</cx:pt>
          <cx:pt idx="757">41.959354838709672</cx:pt>
          <cx:pt idx="758">42.056129032258049</cx:pt>
          <cx:pt idx="759">42.092258064516116</cx:pt>
          <cx:pt idx="760">42.109032258064502</cx:pt>
          <cx:pt idx="761">42.109677419354824</cx:pt>
          <cx:pt idx="762">42.029999999999987</cx:pt>
          <cx:pt idx="763">42.031290322580631</cx:pt>
          <cx:pt idx="764">42.038064516129019</cx:pt>
          <cx:pt idx="765">41.992903225806451</cx:pt>
          <cx:pt idx="766">41.999677419354832</cx:pt>
          <cx:pt idx="767">41.998709677419356</cx:pt>
          <cx:pt idx="768">42.04451612903226</cx:pt>
          <cx:pt idx="769">42.043870967741952</cx:pt>
          <cx:pt idx="770">42.035483870967759</cx:pt>
          <cx:pt idx="771">42.05290322580646</cx:pt>
          <cx:pt idx="772">42.015483870967749</cx:pt>
          <cx:pt idx="773">42.012903225806454</cx:pt>
          <cx:pt idx="774">41.948387096774198</cx:pt>
          <cx:pt idx="775">41.94903225806452</cx:pt>
          <cx:pt idx="776">41.945483870967735</cx:pt>
          <cx:pt idx="777">41.984193548387097</cx:pt>
          <cx:pt idx="778">41.899032258064516</cx:pt>
          <cx:pt idx="779">41.913870967741936</cx:pt>
          <cx:pt idx="780">41.871612903225795</cx:pt>
          <cx:pt idx="781">41.828387096774186</cx:pt>
          <cx:pt idx="782">41.822580645161281</cx:pt>
          <cx:pt idx="783">41.866451612903219</cx:pt>
          <cx:pt idx="784">41.849032258064511</cx:pt>
          <cx:pt idx="785">41.912580645161292</cx:pt>
          <cx:pt idx="786">41.895806451612906</cx:pt>
          <cx:pt idx="787">41.864516129032253</cx:pt>
          <cx:pt idx="788">41.930322580645161</cx:pt>
          <cx:pt idx="789">41.924193548387102</cx:pt>
          <cx:pt idx="790">41.859032258064516</cx:pt>
          <cx:pt idx="791">41.746129032258068</cx:pt>
          <cx:pt idx="792">41.747419354838712</cx:pt>
          <cx:pt idx="793">41.770645161290325</cx:pt>
          <cx:pt idx="794">41.84870967741935</cx:pt>
          <cx:pt idx="795">41.867741935483863</cx:pt>
          <cx:pt idx="796">41.886129032258061</cx:pt>
          <cx:pt idx="797">41.895161290322584</cx:pt>
          <cx:pt idx="798">41.815483870967732</cx:pt>
          <cx:pt idx="799">41.79677419354838</cx:pt>
          <cx:pt idx="800">41.723870967741931</cx:pt>
          <cx:pt idx="801">41.729354838709675</cx:pt>
          <cx:pt idx="802">41.749677419354839</cx:pt>
          <cx:pt idx="803">41.748387096774188</cx:pt>
          <cx:pt idx="804">41.671290322580646</cx:pt>
          <cx:pt idx="805">41.783548387096779</cx:pt>
          <cx:pt idx="806">41.719677419354845</cx:pt>
          <cx:pt idx="807">41.664516129032258</cx:pt>
          <cx:pt idx="808">41.66096774193548</cx:pt>
          <cx:pt idx="809">41.647741935483864</cx:pt>
          <cx:pt idx="810">41.629999999999988</cx:pt>
          <cx:pt idx="811">41.625806451612888</cx:pt>
          <cx:pt idx="812">41.608064516129019</cx:pt>
          <cx:pt idx="813">41.624838709677412</cx:pt>
          <cx:pt idx="814">41.661290322580648</cx:pt>
          <cx:pt idx="815">41.714193548387101</cx:pt>
          <cx:pt idx="816">41.675483870967746</cx:pt>
          <cx:pt idx="817">41.683548387096778</cx:pt>
          <cx:pt idx="818">41.680645161290329</cx:pt>
          <cx:pt idx="819">41.690645161290327</cx:pt>
          <cx:pt idx="820">41.625161290322588</cx:pt>
          <cx:pt idx="821">41.585483870967742</cx:pt>
          <cx:pt idx="822">41.632258064516137</cx:pt>
          <cx:pt idx="823">41.603225806451618</cx:pt>
          <cx:pt idx="824">41.641290322580659</cx:pt>
          <cx:pt idx="825">41.585161290322588</cx:pt>
          <cx:pt idx="826">41.669032258064526</cx:pt>
          <cx:pt idx="827">41.634516129032271</cx:pt>
          <cx:pt idx="828">41.542903225806448</cx:pt>
          <cx:pt idx="829">41.589354838709667</cx:pt>
          <cx:pt idx="830">41.576774193548381</cx:pt>
          <cx:pt idx="831">41.635483870967747</cx:pt>
          <cx:pt idx="832">41.573870967741932</cx:pt>
          <cx:pt idx="833">41.58161290322581</cx:pt>
          <cx:pt idx="834">41.626451612903239</cx:pt>
          <cx:pt idx="835">41.718709677419369</cx:pt>
          <cx:pt idx="836">41.631612903225815</cx:pt>
          <cx:pt idx="837">41.611290322580651</cx:pt>
          <cx:pt idx="838">41.608387096774194</cx:pt>
          <cx:pt idx="839">41.671290322580653</cx:pt>
          <cx:pt idx="840">41.696774193548393</cx:pt>
          <cx:pt idx="841">41.656774193548387</cx:pt>
          <cx:pt idx="842">41.68741935483871</cx:pt>
          <cx:pt idx="843">41.803548387096768</cx:pt>
          <cx:pt idx="844">41.819354838709671</cx:pt>
          <cx:pt idx="845">41.850645161290316</cx:pt>
          <cx:pt idx="846">41.829999999999991</cx:pt>
          <cx:pt idx="847">41.892903225806457</cx:pt>
          <cx:pt idx="848">41.939354838709683</cx:pt>
          <cx:pt idx="849">41.996774193548397</cx:pt>
          <cx:pt idx="850">41.935483870967751</cx:pt>
          <cx:pt idx="851">42.000000000000007</cx:pt>
          <cx:pt idx="852">42.104838709677423</cx:pt>
          <cx:pt idx="853">42.104516129032262</cx:pt>
          <cx:pt idx="854">42.15225806451614</cx:pt>
          <cx:pt idx="855">42.169354838709687</cx:pt>
          <cx:pt idx="856">42.233870967741936</cx:pt>
          <cx:pt idx="857">42.129677419354842</cx:pt>
          <cx:pt idx="858">42.110322580645153</cx:pt>
          <cx:pt idx="859">42.160322580645165</cx:pt>
          <cx:pt idx="860">42.21290322580645</cx:pt>
          <cx:pt idx="861">42.235806451612909</cx:pt>
          <cx:pt idx="862">42.291935483870979</cx:pt>
          <cx:pt idx="863">42.306774193548399</cx:pt>
          <cx:pt idx="864">42.300000000000011</cx:pt>
          <cx:pt idx="865">42.24774193548388</cx:pt>
          <cx:pt idx="866">42.19903225806452</cx:pt>
          <cx:pt idx="867">42.214838709677423</cx:pt>
          <cx:pt idx="868">42.264193548387091</cx:pt>
          <cx:pt idx="869">42.328387096774186</cx:pt>
          <cx:pt idx="870">42.237741935483868</cx:pt>
          <cx:pt idx="871">42.314516129032256</cx:pt>
          <cx:pt idx="872">42.323548387096764</cx:pt>
          <cx:pt idx="873">42.266129032258064</cx:pt>
          <cx:pt idx="874">42.229354838709668</cx:pt>
          <cx:pt idx="875">42.20129032258064</cx:pt>
          <cx:pt idx="876">42.212580645161289</cx:pt>
          <cx:pt idx="877">42.161612903225809</cx:pt>
          <cx:pt idx="878">42.174516129032263</cx:pt>
          <cx:pt idx="879">42.151612903225811</cx:pt>
          <cx:pt idx="880">42.161612903225809</cx:pt>
          <cx:pt idx="881">42.182258064516127</cx:pt>
          <cx:pt idx="882">42.170967741935478</cx:pt>
          <cx:pt idx="883">42.146774193548382</cx:pt>
          <cx:pt idx="884">42.113548387096763</cx:pt>
          <cx:pt idx="885">42.084193548387084</cx:pt>
          <cx:pt idx="886">42.102903225806436</cx:pt>
          <cx:pt idx="887">42.063225806451605</cx:pt>
          <cx:pt idx="888">42.059354838709673</cx:pt>
          <cx:pt idx="889">42.17903225806451</cx:pt>
          <cx:pt idx="890">42.224838709677414</cx:pt>
          <cx:pt idx="891">42.189032258064508</cx:pt>
          <cx:pt idx="892">42.20354838709676</cx:pt>
          <cx:pt idx="893">42.14225806451612</cx:pt>
          <cx:pt idx="894">42.173225806451612</cx:pt>
          <cx:pt idx="895">42.202580645161284</cx:pt>
          <cx:pt idx="896">42.241290322580639</cx:pt>
          <cx:pt idx="897">42.242258064516122</cx:pt>
          <cx:pt idx="898">42.269354838709674</cx:pt>
          <cx:pt idx="899">42.291935483870972</cx:pt>
          <cx:pt idx="900">42.199677419354842</cx:pt>
          <cx:pt idx="901">42.197419354838715</cx:pt>
          <cx:pt idx="902">42.186774193548395</cx:pt>
          <cx:pt idx="903">42.143870967741954</cx:pt>
          <cx:pt idx="904">42.165483870967755</cx:pt>
          <cx:pt idx="905">42.170000000000009</cx:pt>
          <cx:pt idx="906">42.173225806451612</cx:pt>
          <cx:pt idx="907">42.089354838709674</cx:pt>
          <cx:pt idx="908">42.15032258064516</cx:pt>
          <cx:pt idx="909">42.114193548387092</cx:pt>
          <cx:pt idx="910">42.059677419354827</cx:pt>
          <cx:pt idx="911">42.031290322580631</cx:pt>
          <cx:pt idx="912">42.01290322580644</cx:pt>
          <cx:pt idx="913">42.027096774193545</cx:pt>
          <cx:pt idx="914">42.020645161290318</cx:pt>
          <cx:pt idx="915">42.124516129032251</cx:pt>
          <cx:pt idx="916">42.116451612903212</cx:pt>
          <cx:pt idx="917">42.144193548387094</cx:pt>
          <cx:pt idx="918">42.110645161290321</cx:pt>
          <cx:pt idx="919">42.119354838709668</cx:pt>
          <cx:pt idx="920">42.010967741935481</cx:pt>
          <cx:pt idx="921">41.995161290322578</cx:pt>
          <cx:pt idx="922">41.914838709677419</cx:pt>
          <cx:pt idx="923">41.88903225806451</cx:pt>
          <cx:pt idx="924">41.940967741935488</cx:pt>
          <cx:pt idx="925">41.98516129032258</cx:pt>
          <cx:pt idx="926">41.994516129032256</cx:pt>
          <cx:pt idx="927">41.963548387096779</cx:pt>
          <cx:pt idx="928">42.004516129032268</cx:pt>
          <cx:pt idx="929">42.038709677419362</cx:pt>
          <cx:pt idx="930">41.992903225806465</cx:pt>
          <cx:pt idx="931">42.036774193548396</cx:pt>
          <cx:pt idx="932">42.02967741935484</cx:pt>
          <cx:pt idx="933">41.973225806451616</cx:pt>
          <cx:pt idx="934">42.036451612903235</cx:pt>
          <cx:pt idx="935">42.007741935483871</cx:pt>
          <cx:pt idx="936">41.940645161290327</cx:pt>
          <cx:pt idx="937">41.946774193548393</cx:pt>
          <cx:pt idx="938">41.958064516129042</cx:pt>
          <cx:pt idx="939">41.963225806451618</cx:pt>
          <cx:pt idx="940">41.910322580645165</cx:pt>
          <cx:pt idx="941">42.011290322580649</cx:pt>
          <cx:pt idx="942">41.99903225806451</cx:pt>
          <cx:pt idx="943">42.023870967741928</cx:pt>
          <cx:pt idx="944">42.048387096774192</cx:pt>
          <cx:pt idx="945">42.083548387096769</cx:pt>
          <cx:pt idx="946">42.004838709677422</cx:pt>
          <cx:pt idx="947">42.060000000000002</cx:pt>
          <cx:pt idx="948">42.038387096774187</cx:pt>
          <cx:pt idx="949">42.05838709677419</cx:pt>
          <cx:pt idx="950">42.16935483870968</cx:pt>
          <cx:pt idx="951">42.27870967741935</cx:pt>
          <cx:pt idx="952">42.271612903225794</cx:pt>
          <cx:pt idx="953">42.317741935483859</cx:pt>
          <cx:pt idx="954">42.366451612903212</cx:pt>
          <cx:pt idx="955">42.312903225806444</cx:pt>
          <cx:pt idx="956">42.22999999999999</cx:pt>
          <cx:pt idx="957">42.149032258064516</cx:pt>
          <cx:pt idx="958">42.089999999999996</cx:pt>
          <cx:pt idx="959">42.060967741935485</cx:pt>
          <cx:pt idx="960">42.048064516129038</cx:pt>
          <cx:pt idx="961">42.108709677419348</cx:pt>
          <cx:pt idx="962">42.105161290322577</cx:pt>
          <cx:pt idx="963">42.108709677419355</cx:pt>
          <cx:pt idx="964">42.192258064516132</cx:pt>
          <cx:pt idx="965">42.215483870967731</cx:pt>
          <cx:pt idx="966">42.328387096774186</cx:pt>
          <cx:pt idx="967">42.364193548387085</cx:pt>
          <cx:pt idx="968">42.306129032258049</cx:pt>
          <cx:pt idx="969">42.289677419354831</cx:pt>
          <cx:pt idx="970">42.182903225806449</cx:pt>
          <cx:pt idx="971">42.16612903225807</cx:pt>
          <cx:pt idx="972">42.119999999999997</cx:pt>
          <cx:pt idx="973">42.177096774193551</cx:pt>
          <cx:pt idx="974">42.17354838709678</cx:pt>
          <cx:pt idx="975">42.119032258064514</cx:pt>
          <cx:pt idx="976">42.02548387096774</cx:pt>
          <cx:pt idx="977">42.056451612903224</cx:pt>
          <cx:pt idx="978">42.107419354838704</cx:pt>
          <cx:pt idx="979">42.048709677419353</cx:pt>
          <cx:pt idx="980">42.025161290322586</cx:pt>
          <cx:pt idx="981">41.989032258064512</cx:pt>
          <cx:pt idx="982">41.869032258064514</cx:pt>
          <cx:pt idx="983">41.84129032258064</cx:pt>
          <cx:pt idx="984">41.832258064516125</cx:pt>
          <cx:pt idx="985">41.844193548387096</cx:pt>
          <cx:pt idx="986">41.803870967741936</cx:pt>
          <cx:pt idx="987">41.903870967741938</cx:pt>
          <cx:pt idx="988">41.98935483870968</cx:pt>
          <cx:pt idx="989">41.987741935483868</cx:pt>
          <cx:pt idx="990">41.913225806451607</cx:pt>
          <cx:pt idx="991">41.828709677419347</cx:pt>
          <cx:pt idx="992">41.816129032258054</cx:pt>
          <cx:pt idx="993">41.780322580645155</cx:pt>
          <cx:pt idx="994">41.833225806451608</cx:pt>
          <cx:pt idx="995">41.715161290322584</cx:pt>
          <cx:pt idx="996">41.71387096774194</cx:pt>
          <cx:pt idx="997">41.6925806451613</cx:pt>
          <cx:pt idx="998">41.701612903225808</cx:pt>
          <cx:pt idx="999">41.716129032258074</cx:pt>
          <cx:pt idx="1000">41.727419354838716</cx:pt>
          <cx:pt idx="1001">41.752258064516134</cx:pt>
          <cx:pt idx="1002">41.829032258064522</cx:pt>
          <cx:pt idx="1003">41.851290322580653</cx:pt>
          <cx:pt idx="1004">41.80290322580646</cx:pt>
          <cx:pt idx="1005">41.813225806451619</cx:pt>
          <cx:pt idx="1006">41.742903225806458</cx:pt>
          <cx:pt idx="1007">41.836774193548393</cx:pt>
          <cx:pt idx="1008">41.815806451612907</cx:pt>
          <cx:pt idx="1009">41.790645161290328</cx:pt>
          <cx:pt idx="1010">41.769354838709674</cx:pt>
          <cx:pt idx="1011">41.762903225806454</cx:pt>
          <cx:pt idx="1012">41.674516129032263</cx:pt>
          <cx:pt idx="1013">41.698709677419366</cx:pt>
          <cx:pt idx="1014">41.64387096774194</cx:pt>
          <cx:pt idx="1015">41.61354838709677</cx:pt>
          <cx:pt idx="1016">41.515161290322574</cx:pt>
          <cx:pt idx="1017">41.591290322580633</cx:pt>
          <cx:pt idx="1018">41.551935483870949</cx:pt>
          <cx:pt idx="1019">41.521290322580626</cx:pt>
          <cx:pt idx="1020">41.566774193548369</cx:pt>
          <cx:pt idx="1021">41.662903225806438</cx:pt>
          <cx:pt idx="1022">41.739354838709659</cx:pt>
          <cx:pt idx="1023">41.646129032258052</cx:pt>
          <cx:pt idx="1024">41.660645161290311</cx:pt>
          <cx:pt idx="1025">41.641612903225806</cx:pt>
          <cx:pt idx="1026">41.759354838709669</cx:pt>
          <cx:pt idx="1027">41.695806451612903</cx:pt>
          <cx:pt idx="1028">41.660645161290319</cx:pt>
          <cx:pt idx="1029">41.634193548387096</cx:pt>
          <cx:pt idx="1030">41.702580645161284</cx:pt>
          <cx:pt idx="1031">41.750645161290315</cx:pt>
          <cx:pt idx="1032">41.773548387096767</cx:pt>
          <cx:pt idx="1033">41.713225806451611</cx:pt>
          <cx:pt idx="1034">41.640322580645169</cx:pt>
          <cx:pt idx="1035">41.683548387096771</cx:pt>
          <cx:pt idx="1036">41.740000000000002</cx:pt>
          <cx:pt idx="1037">41.770322580645164</cx:pt>
          <cx:pt idx="1038">41.683548387096778</cx:pt>
          <cx:pt idx="1039">41.680645161290329</cx:pt>
          <cx:pt idx="1040">41.649354838709684</cx:pt>
          <cx:pt idx="1041">41.721935483870972</cx:pt>
          <cx:pt idx="1042">41.799032258064514</cx:pt>
          <cx:pt idx="1043">41.917741935483875</cx:pt>
          <cx:pt idx="1044">41.965806451612892</cx:pt>
          <cx:pt idx="1045">42.043870967741924</cx:pt>
          <cx:pt idx="1046">42.169032258064512</cx:pt>
          <cx:pt idx="1047">42.256129032258059</cx:pt>
          <cx:pt idx="1048">42.282580645161289</cx:pt>
          <cx:pt idx="1049">42.308709677419358</cx:pt>
          <cx:pt idx="1050">42.314516129032256</cx:pt>
          <cx:pt idx="1051">42.377096774193554</cx:pt>
          <cx:pt idx="1052">42.402580645161294</cx:pt>
          <cx:pt idx="1053">42.392903225806457</cx:pt>
          <cx:pt idx="1054">42.523870967741928</cx:pt>
          <cx:pt idx="1055">42.609999999999985</cx:pt>
          <cx:pt idx="1056">42.680645161290315</cx:pt>
          <cx:pt idx="1057">42.659999999999997</cx:pt>
          <cx:pt idx="1058">42.708709677419343</cx:pt>
          <cx:pt idx="1059">42.773225806451599</cx:pt>
          <cx:pt idx="1060">42.883225806451613</cx:pt>
          <cx:pt idx="1061">42.951935483870969</cx:pt>
          <cx:pt idx="1062">42.932258064516127</cx:pt>
          <cx:pt idx="1063">42.938064516129032</cx:pt>
          <cx:pt idx="1064">43.023548387096774</cx:pt>
          <cx:pt idx="1065">43.08387096774193</cx:pt>
          <cx:pt idx="1066">43.078064516129039</cx:pt>
          <cx:pt idx="1067">43.086451612903232</cx:pt>
          <cx:pt idx="1068">43.186451612903234</cx:pt>
          <cx:pt idx="1069">43.286129032258067</cx:pt>
          <cx:pt idx="1070">43.323870967741939</cx:pt>
          <cx:pt idx="1071">43.346774193548391</cx:pt>
          <cx:pt idx="1072">43.371935483870978</cx:pt>
          <cx:pt idx="1073">43.412580645161285</cx:pt>
          <cx:pt idx="1074">43.35935483870967</cx:pt>
          <cx:pt idx="1075">43.404838709677414</cx:pt>
          <cx:pt idx="1076">43.399032258064508</cx:pt>
          <cx:pt idx="1077">43.379354838709666</cx:pt>
          <cx:pt idx="1078">43.445806451612896</cx:pt>
          <cx:pt idx="1079">43.415806451612902</cx:pt>
          <cx:pt idx="1080">43.447419354838708</cx:pt>
          <cx:pt idx="1081">43.487419354838707</cx:pt>
          <cx:pt idx="1082">43.49258064516129</cx:pt>
          <cx:pt idx="1083">43.420000000000002</cx:pt>
          <cx:pt idx="1084">43.370322580645158</cx:pt>
          <cx:pt idx="1085">43.301612903225809</cx:pt>
          <cx:pt idx="1086">43.270645161290325</cx:pt>
          <cx:pt idx="1087">43.19903225806452</cx:pt>
          <cx:pt idx="1088">43.112258064516126</cx:pt>
          <cx:pt idx="1089">43.116451612903212</cx:pt>
          <cx:pt idx="1090">42.997741935483859</cx:pt>
          <cx:pt idx="1091">42.895483870967738</cx:pt>
          <cx:pt idx="1092">42.761290322580635</cx:pt>
          <cx:pt idx="1093">42.748709677419349</cx:pt>
          <cx:pt idx="1094">42.715483870967738</cx:pt>
          <cx:pt idx="1095">42.61774193548387</cx:pt>
          <cx:pt idx="1096">42.59870967741935</cx:pt>
          <cx:pt idx="1097">42.568709677419356</cx:pt>
          <cx:pt idx="1098">42.486451612903231</cx:pt>
          <cx:pt idx="1099">42.408064516129045</cx:pt>
          <cx:pt idx="1100">42.325483870967751</cx:pt>
          <cx:pt idx="1101">42.264838709677427</cx:pt>
          <cx:pt idx="1102">42.269354838709688</cx:pt>
          <cx:pt idx="1103">42.176451612903236</cx:pt>
          <cx:pt idx="1104">42.105806451612906</cx:pt>
          <cx:pt idx="1105">42.153870967741945</cx:pt>
          <cx:pt idx="1106">42.039354838709691</cx:pt>
          <cx:pt idx="1107">41.999032258064524</cx:pt>
          <cx:pt idx="1108">41.89161290322582</cx:pt>
          <cx:pt idx="1109">41.851290322580645</cx:pt>
          <cx:pt idx="1110">41.758064516129032</cx:pt>
          <cx:pt idx="1111">41.721612903225804</cx:pt>
          <cx:pt idx="1112">41.630322580645164</cx:pt>
          <cx:pt idx="1113">41.550322580645165</cx:pt>
          <cx:pt idx="1114">41.599677419354833</cx:pt>
          <cx:pt idx="1115">41.670000000000002</cx:pt>
          <cx:pt idx="1116">41.63419354838711</cx:pt>
          <cx:pt idx="1117">41.620000000000012</cx:pt>
          <cx:pt idx="1118">41.643548387096779</cx:pt>
          <cx:pt idx="1119">41.730967741935487</cx:pt>
          <cx:pt idx="1120">41.707741935483874</cx:pt>
          <cx:pt idx="1121">41.730000000000004</cx:pt>
          <cx:pt idx="1122">41.713548387096772</cx:pt>
          <cx:pt idx="1123">41.77129032258064</cx:pt>
          <cx:pt idx="1124">41.737419354838707</cx:pt>
          <cx:pt idx="1125">41.829354838709676</cx:pt>
          <cx:pt idx="1126">41.856774193548389</cx:pt>
          <cx:pt idx="1127">41.871612903225817</cx:pt>
          <cx:pt idx="1128">41.892258064516128</cx:pt>
          <cx:pt idx="1129">41.923225806451619</cx:pt>
          <cx:pt idx="1130">41.880000000000017</cx:pt>
          <cx:pt idx="1131">41.914193548387104</cx:pt>
          <cx:pt idx="1132">41.95870967741935</cx:pt>
          <cx:pt idx="1133">41.990645161290324</cx:pt>
          <cx:pt idx="1134">42.00322580645161</cx:pt>
          <cx:pt idx="1135">41.94580645161291</cx:pt>
          <cx:pt idx="1136">41.908709677419353</cx:pt>
          <cx:pt idx="1137">41.909999999999997</cx:pt>
          <cx:pt idx="1138">41.89806451612904</cx:pt>
          <cx:pt idx="1139">41.924838709677424</cx:pt>
          <cx:pt idx="1140">41.874193548387105</cx:pt>
          <cx:pt idx="1141">41.939354838709683</cx:pt>
          <cx:pt idx="1142">41.882580645161298</cx:pt>
          <cx:pt idx="1143">41.891290322580652</cx:pt>
          <cx:pt idx="1144">41.909677419354843</cx:pt>
          <cx:pt idx="1145">41.79451612903226</cx:pt>
          <cx:pt idx="1146">41.77225806451613</cx:pt>
          <cx:pt idx="1147">41.758387096774193</cx:pt>
          <cx:pt idx="1148">41.782580645161296</cx:pt>
          <cx:pt idx="1149">41.758387096774186</cx:pt>
          <cx:pt idx="1150">41.716774193548389</cx:pt>
          <cx:pt idx="1151">41.77548387096774</cx:pt>
          <cx:pt idx="1152">41.778387096774189</cx:pt>
          <cx:pt idx="1153">41.813225806451605</cx:pt>
          <cx:pt idx="1154">41.829354838709669</cx:pt>
          <cx:pt idx="1155">41.885161290322579</cx:pt>
          <cx:pt idx="1156">41.795806451612904</cx:pt>
          <cx:pt idx="1157">41.771612903225815</cx:pt>
          <cx:pt idx="1158">41.767096774193554</cx:pt>
          <cx:pt idx="1159">41.805483870967748</cx:pt>
          <cx:pt idx="1160">41.769677419354842</cx:pt>
          <cx:pt idx="1161">41.813225806451619</cx:pt>
          <cx:pt idx="1162">41.77129032258064</cx:pt>
          <cx:pt idx="1163">41.713548387096772</cx:pt>
          <cx:pt idx="1164">41.648387096774201</cx:pt>
          <cx:pt idx="1165">41.615483870967743</cx:pt>
          <cx:pt idx="1166">41.686774193548388</cx:pt>
          <cx:pt idx="1167">41.608709677419348</cx:pt>
          <cx:pt idx="1168">41.617419354838695</cx:pt>
          <cx:pt idx="1169">41.622580645161271</cx:pt>
          <cx:pt idx="1170">41.676774193548376</cx:pt>
          <cx:pt idx="1171">41.705483870967733</cx:pt>
          <cx:pt idx="1172">41.706774193548384</cx:pt>
          <cx:pt idx="1173">41.725161290322582</cx:pt>
          <cx:pt idx="1174">41.770967741935486</cx:pt>
          <cx:pt idx="1175">41.723870967741938</cx:pt>
          <cx:pt idx="1176">41.829032258064515</cx:pt>
          <cx:pt idx="1177">41.818709677419349</cx:pt>
          <cx:pt idx="1178">41.846451612903223</cx:pt>
          <cx:pt idx="1179">41.857096774193543</cx:pt>
          <cx:pt idx="1180">41.824516129032254</cx:pt>
          <cx:pt idx="1181">41.832903225806447</cx:pt>
          <cx:pt idx="1182">41.734193548387097</cx:pt>
          <cx:pt idx="1183">41.802258064516124</cx:pt>
          <cx:pt idx="1184">41.745161290322585</cx:pt>
          <cx:pt idx="1185">41.777096774193545</cx:pt>
          <cx:pt idx="1186">41.70000000000001</cx:pt>
          <cx:pt idx="1187">41.775483870967747</cx:pt>
          <cx:pt idx="1188">41.820000000000007</cx:pt>
          <cx:pt idx="1189">41.822258064516134</cx:pt>
          <cx:pt idx="1190">41.792580645161301</cx:pt>
          <cx:pt idx="1191">41.840000000000011</cx:pt>
          <cx:pt idx="1192">41.820000000000014</cx:pt>
          <cx:pt idx="1193">41.786774193548396</cx:pt>
          <cx:pt idx="1194">41.834516129032259</cx:pt>
          <cx:pt idx="1195">41.890967741935491</cx:pt>
          <cx:pt idx="1196">41.909354838709682</cx:pt>
          <cx:pt idx="1197">41.929032258064524</cx:pt>
          <cx:pt idx="1198">42.026129032258069</cx:pt>
          <cx:pt idx="1199">42.05612903225807</cx:pt>
          <cx:pt idx="1200">42.090967741935486</cx:pt>
          <cx:pt idx="1201">42.097741935483874</cx:pt>
          <cx:pt idx="1202">42.023548387096781</cx:pt>
          <cx:pt idx="1203">42.012258064516132</cx:pt>
          <cx:pt idx="1204">41.982258064516138</cx:pt>
          <cx:pt idx="1205">42.000322580645168</cx:pt>
          <cx:pt idx="1206">42.002580645161295</cx:pt>
          <cx:pt idx="1207">41.921935483870975</cx:pt>
          <cx:pt idx="1208">41.925483870967746</cx:pt>
          <cx:pt idx="1209">41.961935483870974</cx:pt>
          <cx:pt idx="1210">41.848709677419357</cx:pt>
          <cx:pt idx="1211">41.957419354838706</cx:pt>
          <cx:pt idx="1212">42.004838709677422</cx:pt>
          <cx:pt idx="1213">42.107419354838711</cx:pt>
          <cx:pt idx="1214">42.108387096774194</cx:pt>
          <cx:pt idx="1215">42.194838709677427</cx:pt>
          <cx:pt idx="1216">42.157096774193562</cx:pt>
          <cx:pt idx="1217">42.171612903225814</cx:pt>
          <cx:pt idx="1218">42.062258064516129</cx:pt>
          <cx:pt idx="1219">42.076129032258059</cx:pt>
          <cx:pt idx="1220">42.068064516129041</cx:pt>
          <cx:pt idx="1221">42.028064516129035</cx:pt>
          <cx:pt idx="1222">41.955483870967747</cx:pt>
          <cx:pt idx="1223">41.976129032258072</cx:pt>
          <cx:pt idx="1224">42.07</cx:pt>
          <cx:pt idx="1225">42.054838709677426</cx:pt>
          <cx:pt idx="1226">42.005806451612905</cx:pt>
          <cx:pt idx="1227">42.070322580645161</cx:pt>
          <cx:pt idx="1228">41.962258064516128</cx:pt>
          <cx:pt idx="1229">41.961290322580638</cx:pt>
          <cx:pt idx="1230">41.962258064516128</cx:pt>
          <cx:pt idx="1231">41.974516129032253</cx:pt>
          <cx:pt idx="1232">41.945161290322574</cx:pt>
          <cx:pt idx="1233">42.052580645161285</cx:pt>
          <cx:pt idx="1234">42.123548387096761</cx:pt>
          <cx:pt idx="1235">42.251935483870952</cx:pt>
          <cx:pt idx="1236">42.261290322580635</cx:pt>
          <cx:pt idx="1237">42.399677419354823</cx:pt>
          <cx:pt idx="1238">42.519677419354828</cx:pt>
          <cx:pt idx="1239">42.57032258064514</cx:pt>
          <cx:pt idx="1240">42.558709677419337</cx:pt>
          <cx:pt idx="1241">42.619999999999983</cx:pt>
          <cx:pt idx="1242">42.583870967741916</cx:pt>
          <cx:pt idx="1243">42.619677419354822</cx:pt>
          <cx:pt idx="1244">42.604516129032248</cx:pt>
          <cx:pt idx="1245">42.584516129032252</cx:pt>
          <cx:pt idx="1246">42.61258064516128</cx:pt>
          <cx:pt idx="1247">42.595483870967733</cx:pt>
          <cx:pt idx="1248">42.650645161290328</cx:pt>
          <cx:pt idx="1249">42.789354838709684</cx:pt>
          <cx:pt idx="1250">42.799677419354843</cx:pt>
          <cx:pt idx="1251">42.861612903225804</cx:pt>
          <cx:pt idx="1252">42.957419354838713</cx:pt>
          <cx:pt idx="1253">43.01387096774193</cx:pt>
          <cx:pt idx="1254">43.081612903225803</cx:pt>
          <cx:pt idx="1255">43.086129032258057</cx:pt>
          <cx:pt idx="1256">43.12903225806452</cx:pt>
          <cx:pt idx="1257">43.179677419354839</cx:pt>
          <cx:pt idx="1258">43.243548387096766</cx:pt>
          <cx:pt idx="1259">43.372258064516117</cx:pt>
          <cx:pt idx="1260">43.381612903225808</cx:pt>
          <cx:pt idx="1261">43.471290322580643</cx:pt>
          <cx:pt idx="1262">43.51387096774193</cx:pt>
          <cx:pt idx="1263">43.577741935483857</cx:pt>
          <cx:pt idx="1264">43.591935483870955</cx:pt>
          <cx:pt idx="1265">43.543548387096763</cx:pt>
          <cx:pt idx="1266">43.55419354838709</cx:pt>
          <cx:pt idx="1267">43.59451612903225</cx:pt>
          <cx:pt idx="1268">43.563870967741941</cx:pt>
          <cx:pt idx="1269">43.577096774193556</cx:pt>
          <cx:pt idx="1270">43.557419354838714</cx:pt>
          <cx:pt idx="1271">43.597741935483874</cx:pt>
          <cx:pt idx="1272">43.648709677419362</cx:pt>
          <cx:pt idx="1273">43.700322580645164</cx:pt>
          <cx:pt idx="1274">43.696774193548393</cx:pt>
          <cx:pt idx="1275">43.660000000000004</cx:pt>
          <cx:pt idx="1276">43.59129032258064</cx:pt>
          <cx:pt idx="1277">43.510967741935481</cx:pt>
          <cx:pt idx="1278">43.496129032258061</cx:pt>
          <cx:pt idx="1279">43.485161290322587</cx:pt>
          <cx:pt idx="1280">43.417741935483875</cx:pt>
          <cx:pt idx="1281">43.443225806451608</cx:pt>
          <cx:pt idx="1282">43.434516129032254</cx:pt>
          <cx:pt idx="1283">43.341935483870969</cx:pt>
          <cx:pt idx="1284">43.342580645161284</cx:pt>
          <cx:pt idx="1285">43.277741935483867</cx:pt>
          <cx:pt idx="1286">43.233225806451614</cx:pt>
          <cx:pt idx="1287">43.26161290322581</cx:pt>
          <cx:pt idx="1288">43.256774193548388</cx:pt>
          <cx:pt idx="1289">43.196451612903225</cx:pt>
          <cx:pt idx="1290">43.082580645161279</cx:pt>
          <cx:pt idx="1291">43.086451612903218</cx:pt>
          <cx:pt idx="1292">43.040645161290314</cx:pt>
          <cx:pt idx="1293">42.95548387096774</cx:pt>
          <cx:pt idx="1294">42.916129032258063</cx:pt>
          <cx:pt idx="1295">42.803548387096768</cx:pt>
          <cx:pt idx="1296">42.750322580645154</cx:pt>
          <cx:pt idx="1297">42.670645161290317</cx:pt>
          <cx:pt idx="1298">42.591290322580633</cx:pt>
          <cx:pt idx="1299">42.510967741935481</cx:pt>
          <cx:pt idx="1300">42.460000000000001</cx:pt>
          <cx:pt idx="1301">42.401935483870972</cx:pt>
          <cx:pt idx="1302">42.333548387096769</cx:pt>
          <cx:pt idx="1303">42.284516129032255</cx:pt>
          <cx:pt idx="1304">42.26483870967742</cx:pt>
          <cx:pt idx="1305">42.11677419354838</cx:pt>
          <cx:pt idx="1306">42.09548387096774</cx:pt>
          <cx:pt idx="1307">42.195483870967749</cx:pt>
          <cx:pt idx="1308">42.198064516129037</cx:pt>
          <cx:pt idx="1309">42.269354838709674</cx:pt>
          <cx:pt idx="1310">42.225806451612904</cx:pt>
          <cx:pt idx="1311">42.274193548387096</cx:pt>
          <cx:pt idx="1312">42.280645161290316</cx:pt>
          <cx:pt idx="1313">42.254193548387093</cx:pt>
          <cx:pt idx="1314">42.252903225806442</cx:pt>
          <cx:pt idx="1315">42.224838709677414</cx:pt>
          <cx:pt idx="1316">42.288709677419348</cx:pt>
          <cx:pt idx="1317">42.311612903225807</cx:pt>
          <cx:pt idx="1318">42.300967741935487</cx:pt>
          <cx:pt idx="1319">42.305806451612909</cx:pt>
          <cx:pt idx="1320">42.338064516129037</cx:pt>
          <cx:pt idx="1321">42.341935483870969</cx:pt>
          <cx:pt idx="1322">42.347741935483874</cx:pt>
          <cx:pt idx="1323">42.35387096774194</cx:pt>
          <cx:pt idx="1324">42.40870967741936</cx:pt>
          <cx:pt idx="1325">42.442580645161293</cx:pt>
          <cx:pt idx="1326">42.441935483870978</cx:pt>
          <cx:pt idx="1327">42.534193548387101</cx:pt>
          <cx:pt idx="1328">42.505806451612905</cx:pt>
          <cx:pt idx="1329">42.452580645161291</cx:pt>
          <cx:pt idx="1330">42.481612903225795</cx:pt>
          <cx:pt idx="1331">42.405806451612897</cx:pt>
          <cx:pt idx="1332">42.485806451612888</cx:pt>
          <cx:pt idx="1333">42.548064516129024</cx:pt>
          <cx:pt idx="1334">42.547096774193534</cx:pt>
          <cx:pt idx="1335">42.43322580645161</cx:pt>
          <cx:pt idx="1336">42.506129032258059</cx:pt>
          <cx:pt idx="1337">42.493548387096773</cx:pt>
          <cx:pt idx="1338">42.39290322580645</cx:pt>
          <cx:pt idx="1339">42.350645161290316</cx:pt>
          <cx:pt idx="1340">42.32548387096773</cx:pt>
          <cx:pt idx="1341">42.366451612903212</cx:pt>
          <cx:pt idx="1342">42.259354838709669</cx:pt>
          <cx:pt idx="1343">42.218709677419348</cx:pt>
          <cx:pt idx="1344">42.239677419354834</cx:pt>
          <cx:pt idx="1345">42.199999999999996</cx:pt>
          <cx:pt idx="1346">42.240645161290324</cx:pt>
          <cx:pt idx="1347">42.120645161290319</cx:pt>
          <cx:pt idx="1348">42.11677419354838</cx:pt>
          <cx:pt idx="1349">42.016129032258064</cx:pt>
          <cx:pt idx="1350">41.98516129032258</cx:pt>
          <cx:pt idx="1351">41.878387096774198</cx:pt>
          <cx:pt idx="1352">41.948387096774191</cx:pt>
          <cx:pt idx="1353">41.850645161290309</cx:pt>
          <cx:pt idx="1354">41.77548387096774</cx:pt>
          <cx:pt idx="1355">41.771935483870962</cx:pt>
          <cx:pt idx="1356">41.747741935483873</cx:pt>
          <cx:pt idx="1357">41.721935483870958</cx:pt>
          <cx:pt idx="1358">41.658064516129031</cx:pt>
          <cx:pt idx="1359">41.640322580645162</cx:pt>
          <cx:pt idx="1360">41.722580645161294</cx:pt>
          <cx:pt idx="1361">41.729677419354836</cx:pt>
          <cx:pt idx="1362">41.825483870967737</cx:pt>
          <cx:pt idx="1363">41.717419354838718</cx:pt>
          <cx:pt idx="1364">41.740000000000002</cx:pt>
          <cx:pt idx="1365">41.71387096774194</cx:pt>
          <cx:pt idx="1366">41.71387096774194</cx:pt>
          <cx:pt idx="1367">41.713225806451611</cx:pt>
          <cx:pt idx="1368">41.730645161290312</cx:pt>
          <cx:pt idx="1369">41.746451612903222</cx:pt>
          <cx:pt idx="1370">41.750645161290315</cx:pt>
          <cx:pt idx="1371">41.719677419354838</cx:pt>
          <cx:pt idx="1372">41.678709677419356</cx:pt>
          <cx:pt idx="1373">41.754193548387093</cx:pt>
          <cx:pt idx="1374">41.696451612903225</cx:pt>
          <cx:pt idx="1375">41.645806451612906</cx:pt>
          <cx:pt idx="1376">41.747741935483873</cx:pt>
          <cx:pt idx="1377">41.744516129032256</cx:pt>
          <cx:pt idx="1378">41.862258064516119</cx:pt>
          <cx:pt idx="1379">41.895806451612906</cx:pt>
          <cx:pt idx="1380">42.021935483870969</cx:pt>
          <cx:pt idx="1381">41.944838709677427</cx:pt>
          <cx:pt idx="1382">41.971935483870972</cx:pt>
          <cx:pt idx="1383">41.976129032258072</cx:pt>
          <cx:pt idx="1384">42.016774193548386</cx:pt>
          <cx:pt idx="1385">42.022580645161298</cx:pt>
          <cx:pt idx="1386">42.000322580645161</cx:pt>
          <cx:pt idx="1387">41.930322580645168</cx:pt>
          <cx:pt idx="1388">41.960967741935491</cx:pt>
          <cx:pt idx="1389">41.979677419354836</cx:pt>
          <cx:pt idx="1390">42.011290322580642</cx:pt>
          <cx:pt idx="1391">41.912258064516131</cx:pt>
          <cx:pt idx="1392">41.892258064516128</cx:pt>
          <cx:pt idx="1393">41.873548387096768</cx:pt>
          <cx:pt idx="1394">41.905806451612904</cx:pt>
          <cx:pt idx="1395">41.906774193548387</cx:pt>
          <cx:pt idx="1396">41.921612903225807</cx:pt>
          <cx:pt idx="1397">42.014516129032259</cx:pt>
          <cx:pt idx="1398">42.036129032258067</cx:pt>
          <cx:pt idx="1399">41.99258064516129</cx:pt>
          <cx:pt idx="1400">42.017741935483869</cx:pt>
          <cx:pt idx="1401">42.109677419354831</cx:pt>
          <cx:pt idx="1402">42.097096774193545</cx:pt>
          <cx:pt idx="1403">42.141935483870959</cx:pt>
          <cx:pt idx="1404">42.059677419354827</cx:pt>
          <cx:pt idx="1405">42.105806451612885</cx:pt>
          <cx:pt idx="1406">42.076774193548381</cx:pt>
          <cx:pt idx="1407">42.064193548387088</cx:pt>
          <cx:pt idx="1408">42.00322580645161</cx:pt>
          <cx:pt idx="1409">41.939999999999998</cx:pt>
          <cx:pt idx="1410">41.857741935483872</cx:pt>
          <cx:pt idx="1411">41.809677419354841</cx:pt>
          <cx:pt idx="1412">41.806451612903224</cx:pt>
          <cx:pt idx="1413">41.80516129032258</cx:pt>
          <cx:pt idx="1414">41.710322580645162</cx:pt>
          <cx:pt idx="1415">41.674838709677417</cx:pt>
          <cx:pt idx="1416">41.677096774193551</cx:pt>
          <cx:pt idx="1417">41.650967741935482</cx:pt>
          <cx:pt idx="1418">41.694193548387098</cx:pt>
          <cx:pt idx="1419">41.77548387096774</cx:pt>
          <cx:pt idx="1420">41.750322580645154</cx:pt>
          <cx:pt idx="1421">41.732903225806446</cx:pt>
          <cx:pt idx="1422">41.779999999999994</cx:pt>
          <cx:pt idx="1423">41.854516129032248</cx:pt>
          <cx:pt idx="1424">41.856451612903214</cx:pt>
          <cx:pt idx="1425">41.870967741935473</cx:pt>
          <cx:pt idx="1426">41.813548387096773</cx:pt>
          <cx:pt idx="1427">41.83709677419354</cx:pt>
          <cx:pt idx="1428">41.768709677419359</cx:pt>
          <cx:pt idx="1429">41.679032258064524</cx:pt>
          <cx:pt idx="1430">41.754516129032261</cx:pt>
          <cx:pt idx="1431">41.75096774193549</cx:pt>
          <cx:pt idx="1432">41.712258064516135</cx:pt>
          <cx:pt idx="1433">41.705483870967747</cx:pt>
          <cx:pt idx="1434">41.657741935483884</cx:pt>
          <cx:pt idx="1435">41.693548387096783</cx:pt>
          <cx:pt idx="1436">41.737741935483882</cx:pt>
          <cx:pt idx="1437">41.772258064516137</cx:pt>
          <cx:pt idx="1438">41.726129032258072</cx:pt>
          <cx:pt idx="1439">41.83483870967742</cx:pt>
          <cx:pt idx="1440">41.84870967741935</cx:pt>
          <cx:pt idx="1441">41.875483870967734</cx:pt>
          <cx:pt idx="1442">41.838387096774184</cx:pt>
          <cx:pt idx="1443">41.95870967741935</cx:pt>
          <cx:pt idx="1444">41.975483870967736</cx:pt>
          <cx:pt idx="1445">41.990967741935478</cx:pt>
          <cx:pt idx="1446">41.975161290322575</cx:pt>
          <cx:pt idx="1447">41.980645161290326</cx:pt>
          <cx:pt idx="1448">41.982258064516131</cx:pt>
          <cx:pt idx="1449">41.98516129032258</cx:pt>
          <cx:pt idx="1450">41.987096774193553</cx:pt>
          <cx:pt idx="1451">42.017096774193554</cx:pt>
          <cx:pt idx="1452">42.033225806451618</cx:pt>
          <cx:pt idx="1453">42.087419354838708</cx:pt>
          <cx:pt idx="1454">42.042903225806448</cx:pt>
          <cx:pt idx="1455">42.000000000000007</cx:pt>
          <cx:pt idx="1456">41.96387096774194</cx:pt>
          <cx:pt idx="1457">41.927419354838712</cx:pt>
          <cx:pt idx="1458">41.960967741935484</cx:pt>
          <cx:pt idx="1459">42.009354838709676</cx:pt>
          <cx:pt idx="1460">42.12419354838709</cx:pt>
          <cx:pt idx="1461">42.125806451612895</cx:pt>
          <cx:pt idx="1462">42.097419354838699</cx:pt>
          <cx:pt idx="1463">42.114193548387092</cx:pt>
          <cx:pt idx="1464">42.143225806451618</cx:pt>
          <cx:pt idx="1465">42.241290322580653</cx:pt>
          <cx:pt idx="1466">42.246451612903229</cx:pt>
          <cx:pt idx="1467">42.232580645161299</cx:pt>
          <cx:pt idx="1468">42.25516129032259</cx:pt>
          <cx:pt idx="1469">42.278387096774196</cx:pt>
          <cx:pt idx="1470">42.19064516129032</cx:pt>
          <cx:pt idx="1471">42.153870967741931</cx:pt>
          <cx:pt idx="1472">42.210645161290316</cx:pt>
          <cx:pt idx="1473">42.219032258064502</cx:pt>
          <cx:pt idx="1474">42.109032258064495</cx:pt>
          <cx:pt idx="1475">42.12870967741933</cx:pt>
          <cx:pt idx="1476">42.149677419354809</cx:pt>
          <cx:pt idx="1477">42.210645161290316</cx:pt>
          <cx:pt idx="1478">42.283548387096765</cx:pt>
          <cx:pt idx="1479">42.312903225806451</cx:pt>
          <cx:pt idx="1480">42.239032258064512</cx:pt>
          <cx:pt idx="1481">42.146451612903228</cx:pt>
          <cx:pt idx="1482">42.186451612903227</cx:pt>
          <cx:pt idx="1483">42.229677419354843</cx:pt>
          <cx:pt idx="1484">42.127741935483861</cx:pt>
          <cx:pt idx="1485">42.148709677419355</cx:pt>
          <cx:pt idx="1486">42.139677419354832</cx:pt>
          <cx:pt idx="1487">42.13064516129031</cx:pt>
          <cx:pt idx="1488">42.203870967741928</cx:pt>
          <cx:pt idx="1489">42.154838709677414</cx:pt>
          <cx:pt idx="1490">42.185161290322576</cx:pt>
          <cx:pt idx="1491">42.121290322580634</cx:pt>
          <cx:pt idx="1492">42.090967741935479</cx:pt>
          <cx:pt idx="1493">42.083548387096776</cx:pt>
          <cx:pt idx="1494">42.094516129032264</cx:pt>
          <cx:pt idx="1495">42.049032258064521</cx:pt>
          <cx:pt idx="1496">41.95322580645162</cx:pt>
          <cx:pt idx="1497">41.99774193548388</cx:pt>
          <cx:pt idx="1498">41.908709677419367</cx:pt>
          <cx:pt idx="1499">41.858387096774202</cx:pt>
          <cx:pt idx="1500">41.900645161290335</cx:pt>
          <cx:pt idx="1501">41.881290322580654</cx:pt>
          <cx:pt idx="1502">41.874838709677427</cx:pt>
          <cx:pt idx="1503">41.799677419354843</cx:pt>
          <cx:pt idx="1504">41.786129032258067</cx:pt>
          <cx:pt idx="1505">41.877419354838715</cx:pt>
          <cx:pt idx="1506">41.88967741935484</cx:pt>
          <cx:pt idx="1507">41.887741935483881</cx:pt>
          <cx:pt idx="1508">41.932580645161295</cx:pt>
          <cx:pt idx="1509">41.916129032258077</cx:pt>
          <cx:pt idx="1510">41.940645161290327</cx:pt>
          <cx:pt idx="1511">41.998709677419356</cx:pt>
          <cx:pt idx="1512">42.087419354838701</cx:pt>
          <cx:pt idx="1513">42.068387096774188</cx:pt>
          <cx:pt idx="1514">42.07</cx:pt>
          <cx:pt idx="1515">42.073548387096771</cx:pt>
          <cx:pt idx="1516">42.003870967741939</cx:pt>
          <cx:pt idx="1517">41.94580645161291</cx:pt>
          <cx:pt idx="1518">41.941290322580649</cx:pt>
          <cx:pt idx="1519">41.916774193548392</cx:pt>
          <cx:pt idx="1520">41.868387096774192</cx:pt>
          <cx:pt idx="1521">41.851290322580645</cx:pt>
          <cx:pt idx="1522">41.859354838709677</cx:pt>
          <cx:pt idx="1523">41.902903225806462</cx:pt>
          <cx:pt idx="1524">41.993225806451612</cx:pt>
          <cx:pt idx="1525">41.917741935483875</cx:pt>
          <cx:pt idx="1526">41.909677419354843</cx:pt>
          <cx:pt idx="1527">41.902580645161287</cx:pt>
          <cx:pt idx="1528">41.837419354838708</cx:pt>
          <cx:pt idx="1529">41.927096774193551</cx:pt>
          <cx:pt idx="1530">41.923870967741941</cx:pt>
          <cx:pt idx="1531">41.817419354838705</cx:pt>
          <cx:pt idx="1532">41.839032258064513</cx:pt>
          <cx:pt idx="1533">41.918064516129029</cx:pt>
          <cx:pt idx="1534">41.972258064516126</cx:pt>
          <cx:pt idx="1535">42.009032258064508</cx:pt>
          <cx:pt idx="1536">41.922903225806451</cx:pt>
          <cx:pt idx="1537">41.928387096774195</cx:pt>
          <cx:pt idx="1538">41.910322580645158</cx:pt>
          <cx:pt idx="1539">41.830322580645152</cx:pt>
          <cx:pt idx="1540">41.809677419354827</cx:pt>
          <cx:pt idx="1541">41.797419354838702</cx:pt>
          <cx:pt idx="1542">41.779999999999994</cx:pt>
          <cx:pt idx="1543">41.717741935483865</cx:pt>
          <cx:pt idx="1544">41.629677419354827</cx:pt>
          <cx:pt idx="1545">41.628064516129022</cx:pt>
          <cx:pt idx="1546">41.684516129032254</cx:pt>
          <cx:pt idx="1547">41.758387096774193</cx:pt>
          <cx:pt idx="1548">41.838709677419352</cx:pt>
          <cx:pt idx="1549">41.839354838709681</cx:pt>
          <cx:pt idx="1550">41.8851612903226</cx:pt>
          <cx:pt idx="1551">41.87354838709679</cx:pt>
          <cx:pt idx="1552">41.816774193548397</cx:pt>
          <cx:pt idx="1553">41.84387096774195</cx:pt>
          <cx:pt idx="1554">41.8151612903226</cx:pt>
          <cx:pt idx="1555">41.729032258064528</cx:pt>
          <cx:pt idx="1556">41.747096774193558</cx:pt>
          <cx:pt idx="1557">41.830967741935488</cx:pt>
          <cx:pt idx="1558">41.903225806451623</cx:pt>
          <cx:pt idx="1559">41.918709677419372</cx:pt>
          <cx:pt idx="1560">41.861612903225812</cx:pt>
          <cx:pt idx="1561">41.912258064516131</cx:pt>
          <cx:pt idx="1562">41.93</cx:pt>
          <cx:pt idx="1563">41.97032258064516</cx:pt>
          <cx:pt idx="1564">41.900645161290321</cx:pt>
          <cx:pt idx="1565">41.871935483870963</cx:pt>
          <cx:pt idx="1566">41.811612903225807</cx:pt>
          <cx:pt idx="1567">41.885161290322586</cx:pt>
          <cx:pt idx="1568">41.840967741935486</cx:pt>
          <cx:pt idx="1569">41.875806451612917</cx:pt>
          <cx:pt idx="1570">41.882258064516137</cx:pt>
          <cx:pt idx="1571">41.871290322580656</cx:pt>
          <cx:pt idx="1572">41.851290322580645</cx:pt>
          <cx:pt idx="1573">41.810322580645163</cx:pt>
          <cx:pt idx="1574">41.767419354838708</cx:pt>
          <cx:pt idx="1575">41.759032258064515</cx:pt>
          <cx:pt idx="1576">41.724838709677421</cx:pt>
          <cx:pt idx="1577">41.740967741935478</cx:pt>
          <cx:pt idx="1578">41.693548387096776</cx:pt>
          <cx:pt idx="1579">41.643870967741933</cx:pt>
          <cx:pt idx="1580">41.638064516129027</cx:pt>
          <cx:pt idx="1581">41.584838709677413</cx:pt>
          <cx:pt idx="1582">41.654838709677421</cx:pt>
          <cx:pt idx="1583">41.6274193548387</cx:pt>
          <cx:pt idx="1584">41.543870967741924</cx:pt>
          <cx:pt idx="1585">41.581290322580635</cx:pt>
          <cx:pt idx="1586">41.674516129032249</cx:pt>
          <cx:pt idx="1587">41.684516129032247</cx:pt>
          <cx:pt idx="1588">41.638709677419335</cx:pt>
          <cx:pt idx="1589">41.663225806451607</cx:pt>
          <cx:pt idx="1590">41.732903225806446</cx:pt>
          <cx:pt idx="1591">41.798387096774185</cx:pt>
          <cx:pt idx="1592">41.751935483870959</cx:pt>
          <cx:pt idx="1593">41.832580645161286</cx:pt>
          <cx:pt idx="1594">41.809032258064512</cx:pt>
          <cx:pt idx="1595">41.788709677419348</cx:pt>
          <cx:pt idx="1596">41.811935483870968</cx:pt>
          <cx:pt idx="1597">41.873870967741929</cx:pt>
          <cx:pt idx="1598">41.833225806451608</cx:pt>
          <cx:pt idx="1599">41.782258064516121</cx:pt>
          <cx:pt idx="1600">41.812258064516122</cx:pt>
          <cx:pt idx="1601">41.867096774193541</cx:pt>
          <cx:pt idx="1602">41.897741935483864</cx:pt>
          <cx:pt idx="1603">41.891290322580637</cx:pt>
          <cx:pt idx="1604">41.976129032258058</cx:pt>
          <cx:pt idx="1605">42.051612903225795</cx:pt>
          <cx:pt idx="1606">42.057419354838707</cx:pt>
          <cx:pt idx="1607">42.074838709677408</cx:pt>
          <cx:pt idx="1608">42.085483870967735</cx:pt>
          <cx:pt idx="1609">42.053870967741936</cx:pt>
          <cx:pt idx="1610">42.050322580645165</cx:pt>
          <cx:pt idx="1611">42.16290322580646</cx:pt>
          <cx:pt idx="1612">42.143870967741947</cx:pt>
          <cx:pt idx="1613">42.085483870967757</cx:pt>
          <cx:pt idx="1614">42.117096774193563</cx:pt>
          <cx:pt idx="1615">42.201935483870983</cx:pt>
          <cx:pt idx="1616">42.144193548387115</cx:pt>
          <cx:pt idx="1617">42.139032258064539</cx:pt>
          <cx:pt idx="1618">42.164193548387111</cx:pt>
          <cx:pt idx="1619">42.190967741935488</cx:pt>
          <cx:pt idx="1620">42.198064516129037</cx:pt>
          <cx:pt idx="1621">42.150322580645167</cx:pt>
          <cx:pt idx="1622">42.15870967741936</cx:pt>
          <cx:pt idx="1623">42.240645161290317</cx:pt>
          <cx:pt idx="1624">42.127741935483861</cx:pt>
          <cx:pt idx="1625">42.185483870967737</cx:pt>
          <cx:pt idx="1626">42.234516129032251</cx:pt>
          <cx:pt idx="1627">42.264193548387084</cx:pt>
          <cx:pt idx="1628">42.220967741935482</cx:pt>
          <cx:pt idx="1629">42.244516129032256</cx:pt>
          <cx:pt idx="1630">42.363870967741931</cx:pt>
          <cx:pt idx="1631">42.295806451612897</cx:pt>
          <cx:pt idx="1632">42.259354838709683</cx:pt>
          <cx:pt idx="1633">42.241612903225807</cx:pt>
          <cx:pt idx="1634">42.18096774193549</cx:pt>
          <cx:pt idx="1635">42.182258064516134</cx:pt>
          <cx:pt idx="1636">42.20000000000001</cx:pt>
          <cx:pt idx="1637">42.301612903225809</cx:pt>
          <cx:pt idx="1638">42.213870967741947</cx:pt>
          <cx:pt idx="1639">42.220645161290328</cx:pt>
          <cx:pt idx="1640">42.304193548387104</cx:pt>
          <cx:pt idx="1641">42.377096774193561</cx:pt>
          <cx:pt idx="1642">42.328709677419361</cx:pt>
          <cx:pt idx="1643">42.359677419354831</cx:pt>
          <cx:pt idx="1644">42.388387096774203</cx:pt>
          <cx:pt idx="1645">42.418387096774204</cx:pt>
          <cx:pt idx="1646">42.419677419354848</cx:pt>
          <cx:pt idx="1647">42.380967741935493</cx:pt>
          <cx:pt idx="1648">42.307096774193553</cx:pt>
          <cx:pt idx="1649">42.265483870967742</cx:pt>
          <cx:pt idx="1650">42.200322580645164</cx:pt>
          <cx:pt idx="1651">42.107096774193543</cx:pt>
          <cx:pt idx="1652">42.052580645161285</cx:pt>
          <cx:pt idx="1653">41.974838709677414</cx:pt>
          <cx:pt idx="1654">41.872580645161285</cx:pt>
          <cx:pt idx="1655">41.967096774193543</cx:pt>
          <cx:pt idx="1656">41.950967741935479</cx:pt>
          <cx:pt idx="1657">41.965806451612899</cx:pt>
          <cx:pt idx="1658">41.845161290322572</cx:pt>
          <cx:pt idx="1659">41.877096774193554</cx:pt>
          <cx:pt idx="1660">41.858064516129033</cx:pt>
          <cx:pt idx="1661">41.853225806451611</cx:pt>
          <cx:pt idx="1662">41.878709677419359</cx:pt>
          <cx:pt idx="1663">41.846774193548384</cx:pt>
          <cx:pt idx="1664">41.885161290322586</cx:pt>
          <cx:pt idx="1665">41.88645161290323</cx:pt>
          <cx:pt idx="1666">41.886774193548391</cx:pt>
          <cx:pt idx="1667">41.785483870967745</cx:pt>
          <cx:pt idx="1668">41.707419354838713</cx:pt>
          <cx:pt idx="1669">41.782580645161289</cx:pt>
          <cx:pt idx="1670">41.68741935483871</cx:pt>
          <cx:pt idx="1671">41.650967741935489</cx:pt>
          <cx:pt idx="1672">41.566774193548383</cx:pt>
          <cx:pt idx="1673">41.604516129032255</cx:pt>
          <cx:pt idx="1674">41.557741935483875</cx:pt>
          <cx:pt idx="1675">41.591935483870969</cx:pt>
          <cx:pt idx="1676">41.647741935483879</cx:pt>
          <cx:pt idx="1677">41.645161290322584</cx:pt>
          <cx:pt idx="1678">41.720322580645167</cx:pt>
          <cx:pt idx="1679">41.702903225806452</cx:pt>
          <cx:pt idx="1680">41.726129032258058</cx:pt>
          <cx:pt idx="1681">41.749999999999993</cx:pt>
          <cx:pt idx="1682">41.841935483870962</cx:pt>
          <cx:pt idx="1683">41.865161290322575</cx:pt>
          <cx:pt idx="1684">41.859032258064509</cx:pt>
          <cx:pt idx="1685">41.926451612903229</cx:pt>
          <cx:pt idx="1686">41.928709677419356</cx:pt>
          <cx:pt idx="1687">41.843870967741935</cx:pt>
          <cx:pt idx="1688">41.859677419354831</cx:pt>
          <cx:pt idx="1689">41.856451612903214</cx:pt>
          <cx:pt idx="1690">41.822580645161281</cx:pt>
          <cx:pt idx="1691">41.802903225806446</cx:pt>
          <cx:pt idx="1692">41.748064516129027</cx:pt>
          <cx:pt idx="1693">41.797741935483863</cx:pt>
          <cx:pt idx="1694">41.810967741935478</cx:pt>
          <cx:pt idx="1695">41.813870967741927</cx:pt>
          <cx:pt idx="1696">41.890967741935476</cx:pt>
          <cx:pt idx="1697">41.880000000000003</cx:pt>
          <cx:pt idx="1698">41.966129032258067</cx:pt>
          <cx:pt idx="1699">42.087419354838708</cx:pt>
          <cx:pt idx="1700">42.084193548387091</cx:pt>
          <cx:pt idx="1701">42.164838709677419</cx:pt>
          <cx:pt idx="1702">42.225483870967743</cx:pt>
          <cx:pt idx="1703">42.343548387096774</cx:pt>
          <cx:pt idx="1704">42.363870967741931</cx:pt>
          <cx:pt idx="1705">42.456451612903223</cx:pt>
          <cx:pt idx="1706">42.443548387096776</cx:pt>
          <cx:pt idx="1707">42.47548387096775</cx:pt>
          <cx:pt idx="1708">42.517096774193554</cx:pt>
          <cx:pt idx="1709">42.589032258064513</cx:pt>
          <cx:pt idx="1710">42.642580645161296</cx:pt>
          <cx:pt idx="1711">42.743225806451612</cx:pt>
          <cx:pt idx="1712">42.842903225806445</cx:pt>
          <cx:pt idx="1713">42.868064516129024</cx:pt>
          <cx:pt idx="1714">42.922258064516129</cx:pt>
          <cx:pt idx="1715">42.977741935483863</cx:pt>
          <cx:pt idx="1716">42.979999999999997</cx:pt>
          <cx:pt idx="1717">43.015483870967735</cx:pt>
          <cx:pt idx="1718">43.122258064516124</cx:pt>
          <cx:pt idx="1719">43.132258064516137</cx:pt>
          <cx:pt idx="1720">43.270000000000003</cx:pt>
          <cx:pt idx="1721">43.329354838709676</cx:pt>
          <cx:pt idx="1722">43.442580645161293</cx:pt>
          <cx:pt idx="1723">43.465161290322577</cx:pt>
          <cx:pt idx="1724">43.512580645161286</cx:pt>
          <cx:pt idx="1725">43.58709677419354</cx:pt>
          <cx:pt idx="1726">43.621935483870956</cx:pt>
          <cx:pt idx="1727">43.685161290322576</cx:pt>
          <cx:pt idx="1728">43.750645161290322</cx:pt>
          <cx:pt idx="1729">43.763870967741937</cx:pt>
          <cx:pt idx="1730">43.755806451612898</cx:pt>
          <cx:pt idx="1731">43.764838709677413</cx:pt>
          <cx:pt idx="1732">43.791290322580636</cx:pt>
          <cx:pt idx="1733">43.718709677419348</cx:pt>
          <cx:pt idx="1734">43.711290322580638</cx:pt>
          <cx:pt idx="1735">43.689677419354837</cx:pt>
          <cx:pt idx="1736">43.695806451612903</cx:pt>
          <cx:pt idx="1737">43.749354838709671</cx:pt>
          <cx:pt idx="1738">43.685806451612898</cx:pt>
          <cx:pt idx="1739">43.62903225806452</cx:pt>
          <cx:pt idx="1740">43.553225806451614</cx:pt>
          <cx:pt idx="1741">43.623870967741944</cx:pt>
          <cx:pt idx="1742">43.534516129032262</cx:pt>
          <cx:pt idx="1743">43.417741935483868</cx:pt>
          <cx:pt idx="1744">43.310967741935492</cx:pt>
          <cx:pt idx="1745">43.321935483870966</cx:pt>
          <cx:pt idx="1746">43.238064516129036</cx:pt>
          <cx:pt idx="1747">43.260645161290327</cx:pt>
          <cx:pt idx="1748">43.226451612903226</cx:pt>
          <cx:pt idx="1749">43.224838709677421</cx:pt>
          <cx:pt idx="1750">43.243225806451619</cx:pt>
          <cx:pt idx="1751">43.181612903225812</cx:pt>
          <cx:pt idx="1752">43.215483870967745</cx:pt>
          <cx:pt idx="1753">43.175806451612914</cx:pt>
          <cx:pt idx="1754">43.203225806451613</cx:pt>
          <cx:pt idx="1755">43.146451612903228</cx:pt>
          <cx:pt idx="1756">43.111612903225804</cx:pt>
          <cx:pt idx="1757">42.995483870967739</cx:pt>
          <cx:pt idx="1758">42.890645161290301</cx:pt>
          <cx:pt idx="1759">42.839999999999989</cx:pt>
          <cx:pt idx="1760">42.864516129032246</cx:pt>
          <cx:pt idx="1761">42.723225806451602</cx:pt>
          <cx:pt idx="1762">42.702903225806445</cx:pt>
          <cx:pt idx="1763">42.638709677419349</cx:pt>
          <cx:pt idx="1764">42.691290322580642</cx:pt>
          <cx:pt idx="1765">42.654838709677414</cx:pt>
          <cx:pt idx="1766">42.605483870967738</cx:pt>
          <cx:pt idx="1767">42.502580645161288</cx:pt>
          <cx:pt idx="1768">42.419032258064512</cx:pt>
          <cx:pt idx="1769">42.385483870967747</cx:pt>
          <cx:pt idx="1770">42.375806451612895</cx:pt>
          <cx:pt idx="1771">42.312258064516122</cx:pt>
          <cx:pt idx="1772">42.199677419354842</cx:pt>
          <cx:pt idx="1773">42.147419354838718</cx:pt>
          <cx:pt idx="1774">42.149032258064523</cx:pt>
          <cx:pt idx="1775">42.235483870967741</cx:pt>
          <cx:pt idx="1776">42.210967741935484</cx:pt>
          <cx:pt idx="1777">42.249032258064517</cx:pt>
          <cx:pt idx="1778">42.212258064516128</cx:pt>
          <cx:pt idx="1779">42.116451612903219</cx:pt>
          <cx:pt idx="1780">42.008387096774193</cx:pt>
          <cx:pt idx="1781">41.94903225806452</cx:pt>
          <cx:pt idx="1782">41.910645161290326</cx:pt>
          <cx:pt idx="1783">41.892580645161296</cx:pt>
          <cx:pt idx="1784">41.784838709677423</cx:pt>
          <cx:pt idx="1785">41.748709677419356</cx:pt>
          <cx:pt idx="1786">41.788064516129033</cx:pt>
          <cx:pt idx="1787">41.741290322580646</cx:pt>
          <cx:pt idx="1788">41.727419354838709</cx:pt>
          <cx:pt idx="1789">41.721612903225811</cx:pt>
          <cx:pt idx="1790">41.644838709677423</cx:pt>
          <cx:pt idx="1791">41.539999999999992</cx:pt>
          <cx:pt idx="1792">41.545161290322575</cx:pt>
          <cx:pt idx="1793">41.54032258064516</cx:pt>
          <cx:pt idx="1794">41.514193548387084</cx:pt>
          <cx:pt idx="1795">41.411290322580633</cx:pt>
          <cx:pt idx="1796">41.42903225806451</cx:pt>
          <cx:pt idx="1797">41.459677419354833</cx:pt>
          <cx:pt idx="1798">41.50967741935483</cx:pt>
          <cx:pt idx="1799">41.534838709677416</cx:pt>
          <cx:pt idx="1800">41.557096774193553</cx:pt>
          <cx:pt idx="1801">41.490967741935485</cx:pt>
          <cx:pt idx="1802">41.513870967741937</cx:pt>
          <cx:pt idx="1803">41.562903225806444</cx:pt>
          <cx:pt idx="1804">41.549999999999997</cx:pt>
          <cx:pt idx="1805">41.552258064516131</cx:pt>
          <cx:pt idx="1806">41.468387096774201</cx:pt>
          <cx:pt idx="1807">41.428709677419356</cx:pt>
          <cx:pt idx="1808">41.482258064516124</cx:pt>
          <cx:pt idx="1809">41.459354838709672</cx:pt>
          <cx:pt idx="1810">41.468709677419355</cx:pt>
          <cx:pt idx="1811">41.490322580645163</cx:pt>
          <cx:pt idx="1812">41.468064516129033</cx:pt>
          <cx:pt idx="1813">41.490000000000002</cx:pt>
          <cx:pt idx="1814">41.470000000000013</cx:pt>
          <cx:pt idx="1815">41.513870967741944</cx:pt>
          <cx:pt idx="1816">41.471935483870979</cx:pt>
          <cx:pt idx="1817">41.378709677419366</cx:pt>
          <cx:pt idx="1818">41.418064516129043</cx:pt>
          <cx:pt idx="1819">41.510322580645166</cx:pt>
          <cx:pt idx="1820">41.586451612903225</cx:pt>
          <cx:pt idx="1821">41.661290322580648</cx:pt>
          <cx:pt idx="1822">41.69580645161291</cx:pt>
          <cx:pt idx="1823">41.793870967741938</cx:pt>
          <cx:pt idx="1824">41.847741935483882</cx:pt>
          <cx:pt idx="1825">41.867741935483885</cx:pt>
          <cx:pt idx="1826">41.923225806451633</cx:pt>
          <cx:pt idx="1827">41.854193548387109</cx:pt>
          <cx:pt idx="1828">41.791935483870979</cx:pt>
          <cx:pt idx="1829">41.776129032258069</cx:pt>
          <cx:pt idx="1830">41.827096774193549</cx:pt>
          <cx:pt idx="1831">41.779354838709686</cx:pt>
          <cx:pt idx="1832">41.881290322580654</cx:pt>
          <cx:pt idx="1833">41.872258064516139</cx:pt>
          <cx:pt idx="1834">41.854516129032262</cx:pt>
          <cx:pt idx="1835">41.93935483870969</cx:pt>
          <cx:pt idx="1836">41.93516129032259</cx:pt>
          <cx:pt idx="1837">41.934838709677422</cx:pt>
          <cx:pt idx="1838">42.021290322580647</cx:pt>
          <cx:pt idx="1839">41.964516129032255</cx:pt>
          <cx:pt idx="1840">41.986774193548392</cx:pt>
          <cx:pt idx="1841">42.002258064516127</cx:pt>
          <cx:pt idx="1842">42.014838709677413</cx:pt>
          <cx:pt idx="1843">42.029999999999994</cx:pt>
          <cx:pt idx="1844">42.011935483870971</cx:pt>
          <cx:pt idx="1845">42.035483870967745</cx:pt>
          <cx:pt idx="1846">42.030322580645169</cx:pt>
          <cx:pt idx="1847">42.018064516129037</cx:pt>
          <cx:pt idx="1848">42.081290322580649</cx:pt>
          <cx:pt idx="1849">42.029032258064525</cx:pt>
          <cx:pt idx="1850">41.991935483870975</cx:pt>
          <cx:pt idx="1851">41.903225806451616</cx:pt>
          <cx:pt idx="1852">41.909032258064521</cx:pt>
          <cx:pt idx="1853">41.927096774193558</cx:pt>
          <cx:pt idx="1854">41.902903225806462</cx:pt>
          <cx:pt idx="1855">41.910967741935494</cx:pt>
          <cx:pt idx="1856">41.887741935483881</cx:pt>
          <cx:pt idx="1857">41.825161290322583</cx:pt>
          <cx:pt idx="1858">41.813225806451612</cx:pt>
          <cx:pt idx="1859">41.795483870967743</cx:pt>
          <cx:pt idx="1860">41.748709677419363</cx:pt>
          <cx:pt idx="1861">41.73935483870968</cx:pt>
          <cx:pt idx="1862">41.812258064516129</cx:pt>
          <cx:pt idx="1863">41.815806451612907</cx:pt>
          <cx:pt idx="1864">41.867096774193541</cx:pt>
          <cx:pt idx="1865">41.871612903225802</cx:pt>
          <cx:pt idx="1866">41.89387096774194</cx:pt>
          <cx:pt idx="1867">41.917419354838714</cx:pt>
          <cx:pt idx="1868">41.881935483870969</cx:pt>
          <cx:pt idx="1869">41.851612903225799</cx:pt>
          <cx:pt idx="1870">41.945483870967742</cx:pt>
          <cx:pt idx="1871">41.98290322580646</cx:pt>
          <cx:pt idx="1872">42.018064516129037</cx:pt>
          <cx:pt idx="1873">42.009354838709676</cx:pt>
          <cx:pt idx="1874">41.959677419354833</cx:pt>
          <cx:pt idx="1875">41.966129032258067</cx:pt>
          <cx:pt idx="1876">41.946774193548386</cx:pt>
          <cx:pt idx="1877">42.018064516129023</cx:pt>
          <cx:pt idx="1878">42.06903225806451</cx:pt>
          <cx:pt idx="1879">42.043870967741924</cx:pt>
          <cx:pt idx="1880">42.145483870967738</cx:pt>
          <cx:pt idx="1881">42.123548387096768</cx:pt>
          <cx:pt idx="1882">42.221612903225804</cx:pt>
          <cx:pt idx="1883">42.166451612903224</cx:pt>
          <cx:pt idx="1884">42.167419354838707</cx:pt>
          <cx:pt idx="1885">42.097096774193538</cx:pt>
          <cx:pt idx="1886">41.98419354838709</cx:pt>
          <cx:pt idx="1887">42.065161290322571</cx:pt>
          <cx:pt idx="1888">42.168709677419351</cx:pt>
          <cx:pt idx="1889">42.241612903225807</cx:pt>
          <cx:pt idx="1890">42.308709677419358</cx:pt>
          <cx:pt idx="1891">42.389677419354847</cx:pt>
          <cx:pt idx="1892">42.385161290322593</cx:pt>
          <cx:pt idx="1893">42.375483870967756</cx:pt>
          <cx:pt idx="1894">42.380000000000017</cx:pt>
          <cx:pt idx="1895">42.456451612903237</cx:pt>
          <cx:pt idx="1896">42.470645161290335</cx:pt>
          <cx:pt idx="1897">42.444516129032266</cx:pt>
          <cx:pt idx="1898">42.510645161290327</cx:pt>
          <cx:pt idx="1899">42.663225806451614</cx:pt>
          <cx:pt idx="1900">42.690322580645166</cx:pt>
          <cx:pt idx="1901">42.685806451612905</cx:pt>
          <cx:pt idx="1902">42.69064516129032</cx:pt>
          <cx:pt idx="1903">42.728387096774192</cx:pt>
          <cx:pt idx="1904">42.773870967741928</cx:pt>
          <cx:pt idx="1905">42.923870967741934</cx:pt>
          <cx:pt idx="1906">42.971935483870972</cx:pt>
          <cx:pt idx="1907">42.990645161290324</cx:pt>
          <cx:pt idx="1908">43.030967741935484</cx:pt>
          <cx:pt idx="1909">43.075806451612905</cx:pt>
          <cx:pt idx="1910">43.152580645161301</cx:pt>
          <cx:pt idx="1911">43.184838709677429</cx:pt>
          <cx:pt idx="1912">43.282258064516135</cx:pt>
          <cx:pt idx="1913">43.25516129032259</cx:pt>
          <cx:pt idx="1914">43.281612903225813</cx:pt>
          <cx:pt idx="1915">43.311612903225814</cx:pt>
          <cx:pt idx="1916">43.455806451612922</cx:pt>
          <cx:pt idx="1917">43.540645161290328</cx:pt>
          <cx:pt idx="1918">43.603225806451618</cx:pt>
          <cx:pt idx="1919">43.588709677419359</cx:pt>
          <cx:pt idx="1920">43.621935483870978</cx:pt>
          <cx:pt idx="1921">43.704838709677425</cx:pt>
          <cx:pt idx="1922">43.69580645161291</cx:pt>
          <cx:pt idx="1923">43.748064516129034</cx:pt>
          <cx:pt idx="1924">43.721290322580643</cx:pt>
          <cx:pt idx="1925">43.711612903225806</cx:pt>
          <cx:pt idx="1926">43.690322580645159</cx:pt>
          <cx:pt idx="1927">43.752903225806442</cx:pt>
          <cx:pt idx="1928">43.8074193548387</cx:pt>
          <cx:pt idx="1929">43.780645161290316</cx:pt>
          <cx:pt idx="1930">43.691935483870971</cx:pt>
          <cx:pt idx="1931">43.602580645161289</cx:pt>
          <cx:pt idx="1932">43.501290322580644</cx:pt>
          <cx:pt idx="1933">43.486451612903224</cx:pt>
          <cx:pt idx="1934">43.416451612903224</cx:pt>
          <cx:pt idx="1935">43.454516129032257</cx:pt>
          <cx:pt idx="1936">43.366451612903219</cx:pt>
          <cx:pt idx="1937">43.292258064516126</cx:pt>
          <cx:pt idx="1938">43.245806451612907</cx:pt>
          <cx:pt idx="1939">43.159677419354836</cx:pt>
          <cx:pt idx="1940">43.063870967741934</cx:pt>
          <cx:pt idx="1941">43.002258064516127</cx:pt>
          <cx:pt idx="1942">42.950645161290325</cx:pt>
          <cx:pt idx="1943">42.916774193548385</cx:pt>
          <cx:pt idx="1944">42.946129032258071</cx:pt>
          <cx:pt idx="1945">42.981290322580648</cx:pt>
          <cx:pt idx="1946">42.921935483870968</cx:pt>
          <cx:pt idx="1947">42.767096774193547</cx:pt>
          <cx:pt idx="1948">42.710645161290316</cx:pt>
          <cx:pt idx="1949">42.643548387096772</cx:pt>
          <cx:pt idx="1950">42.632580645161291</cx:pt>
          <cx:pt idx="1951">42.52129032258064</cx:pt>
          <cx:pt idx="1952">42.490645161290317</cx:pt>
          <cx:pt idx="1953">42.498709677419356</cx:pt>
          <cx:pt idx="1954">42.352580645161282</cx:pt>
          <cx:pt idx="1955">42.374516129032266</cx:pt>
          <cx:pt idx="1956">42.377419354838715</cx:pt>
          <cx:pt idx="1957">42.326774193548381</cx:pt>
          <cx:pt idx="1958">42.246129032258068</cx:pt>
          <cx:pt idx="1959">42.226129032258065</cx:pt>
          <cx:pt idx="1960">42.240000000000002</cx:pt>
          <cx:pt idx="1961">42.182258064516134</cx:pt>
          <cx:pt idx="1962">42.240645161290324</cx:pt>
          <cx:pt idx="1963">42.268387096774191</cx:pt>
          <cx:pt idx="1964">42.240000000000002</cx:pt>
          <cx:pt idx="1965">42.239999999999995</cx:pt>
          <cx:pt idx="1966">42.25</cx:pt>
          <cx:pt idx="1967">42.260322580645159</cx:pt>
          <cx:pt idx="1968">42.323870967741932</cx:pt>
          <cx:pt idx="1969">42.297419354838702</cx:pt>
          <cx:pt idx="1970">42.278387096774182</cx:pt>
          <cx:pt idx="1971">42.356774193548382</cx:pt>
          <cx:pt idx="1972">42.294516129032246</cx:pt>
          <cx:pt idx="1973">42.285483870967738</cx:pt>
          <cx:pt idx="1974">42.232258064516124</cx:pt>
          <cx:pt idx="1975">42.138064516129035</cx:pt>
          <cx:pt idx="1976">42.10290322580645</cx:pt>
          <cx:pt idx="1977">42.072580645161295</cx:pt>
          <cx:pt idx="1978">42.107741935483872</cx:pt>
          <cx:pt idx="1979">42.092903225806459</cx:pt>
          <cx:pt idx="1980">42.008387096774193</cx:pt>
          <cx:pt idx="1981">41.937096774193556</cx:pt>
          <cx:pt idx="1982">41.944516129032273</cx:pt>
          <cx:pt idx="1983">41.89580645161292</cx:pt>
          <cx:pt idx="1984">41.912580645161306</cx:pt>
          <cx:pt idx="1985">41.992258064516136</cx:pt>
          <cx:pt idx="1986">41.988709677419358</cx:pt>
          <cx:pt idx="1987">41.917741935483875</cx:pt>
          <cx:pt idx="1988">41.903870967741938</cx:pt>
          <cx:pt idx="1989">41.907419354838709</cx:pt>
          <cx:pt idx="1990">41.807741935483868</cx:pt>
          <cx:pt idx="1991">41.817741935483873</cx:pt>
          <cx:pt idx="1992">41.856451612903221</cx:pt>
          <cx:pt idx="1993">41.840645161290325</cx:pt>
          <cx:pt idx="1994">41.838709677419359</cx:pt>
          <cx:pt idx="1995">41.885483870967754</cx:pt>
          <cx:pt idx="1996">41.915806451612916</cx:pt>
          <cx:pt idx="1997">41.806451612903231</cx:pt>
          <cx:pt idx="1998">41.829032258064515</cx:pt>
          <cx:pt idx="1999">41.763870967741937</cx:pt>
          <cx:pt idx="2000">41.760322580645166</cx:pt>
          <cx:pt idx="2001">41.708387096774189</cx:pt>
          <cx:pt idx="2002">41.659032258064514</cx:pt>
          <cx:pt idx="2003">41.640967741935484</cx:pt>
          <cx:pt idx="2004">41.660645161290319</cx:pt>
          <cx:pt idx="2005">41.618387096774185</cx:pt>
          <cx:pt idx="2006">41.678709677419356</cx:pt>
          <cx:pt idx="2007">41.649032258064516</cx:pt>
          <cx:pt idx="2008">41.688064516129032</cx:pt>
          <cx:pt idx="2009">41.756129032258059</cx:pt>
          <cx:pt idx="2010">41.780322580645162</cx:pt>
          <cx:pt idx="2011">41.889354838709679</cx:pt>
          <cx:pt idx="2012">41.994838709677417</cx:pt>
          <cx:pt idx="2013">42.05838709677419</cx:pt>
          <cx:pt idx="2014">42.033548387096772</cx:pt>
          <cx:pt idx="2015">42.008387096774193</cx:pt>
          <cx:pt idx="2016">42.039999999999999</cx:pt>
          <cx:pt idx="2017">42.069677419354832</cx:pt>
          <cx:pt idx="2018">42.10612903225806</cx:pt>
          <cx:pt idx="2019">42.038709677419355</cx:pt>
          <cx:pt idx="2020">41.976774193548394</cx:pt>
          <cx:pt idx="2021">42.02645161290323</cx:pt>
          <cx:pt idx="2022">41.972903225806455</cx:pt>
          <cx:pt idx="2023">42.049677419354843</cx:pt>
          <cx:pt idx="2024">41.988387096774197</cx:pt>
          <cx:pt idx="2025">42.039677419354838</cx:pt>
          <cx:pt idx="2026">41.966451612903228</cx:pt>
          <cx:pt idx="2027">41.968387096774194</cx:pt>
          <cx:pt idx="2028">42.04774193548387</cx:pt>
          <cx:pt idx="2029">42.049999999999997</cx:pt>
          <cx:pt idx="2030">42.114193548387092</cx:pt>
          <cx:pt idx="2031">42.105806451612899</cx:pt>
          <cx:pt idx="2032">42.160322580645165</cx:pt>
          <cx:pt idx="2033">42.187741935483871</cx:pt>
          <cx:pt idx="2034">42.18741935483871</cx:pt>
          <cx:pt idx="2035">42.170322580645163</cx:pt>
          <cx:pt idx="2036">42.20322580645162</cx:pt>
          <cx:pt idx="2037">42.224838709677421</cx:pt>
          <cx:pt idx="2038">42.291935483870965</cx:pt>
          <cx:pt idx="2039">42.242903225806451</cx:pt>
          <cx:pt idx="2040">42.143225806451611</cx:pt>
          <cx:pt idx="2041">42.226451612903233</cx:pt>
          <cx:pt idx="2042">42.234516129032251</cx:pt>
          <cx:pt idx="2043">42.189999999999991</cx:pt>
          <cx:pt idx="2044">42.104193548387087</cx:pt>
          <cx:pt idx="2045">42.066774193548383</cx:pt>
          <cx:pt idx="2046">41.994838709677417</cx:pt>
          <cx:pt idx="2047">41.98290322580646</cx:pt>
          <cx:pt idx="2048">41.984516129032258</cx:pt>
          <cx:pt idx="2049">41.917741935483882</cx:pt>
          <cx:pt idx="2050">41.938064516129046</cx:pt>
          <cx:pt idx="2051">41.995483870967753</cx:pt>
          <cx:pt idx="2052">41.952903225806466</cx:pt>
          <cx:pt idx="2053">41.999354838709692</cx:pt>
          <cx:pt idx="2054">41.949032258064527</cx:pt>
          <cx:pt idx="2055">41.951935483870976</cx:pt>
          <cx:pt idx="2056">41.967419354838718</cx:pt>
          <cx:pt idx="2057">42.009354838709683</cx:pt>
          <cx:pt idx="2058">42.009677419354844</cx:pt>
          <cx:pt idx="2059">42.028064516129028</cx:pt>
          <cx:pt idx="2060">41.956129032258062</cx:pt>
          <cx:pt idx="2061">41.923548387096773</cx:pt>
          <cx:pt idx="2062">41.947096774193547</cx:pt>
          <cx:pt idx="2063">41.959354838709672</cx:pt>
          <cx:pt idx="2064">41.90870967741936</cx:pt>
          <cx:pt idx="2065">41.941935483870971</cx:pt>
          <cx:pt idx="2066">41.973870967741938</cx:pt>
          <cx:pt idx="2067">41.971935483870972</cx:pt>
          <cx:pt idx="2068">41.904516129032267</cx:pt>
          <cx:pt idx="2069">41.875483870967756</cx:pt>
          <cx:pt idx="2070">41.936774193548402</cx:pt>
          <cx:pt idx="2071">41.977741935483884</cx:pt>
          <cx:pt idx="2072">41.972580645161301</cx:pt>
          <cx:pt idx="2073">41.910000000000011</cx:pt>
          <cx:pt idx="2074">41.910645161290326</cx:pt>
          <cx:pt idx="2075">41.955806451612908</cx:pt>
          <cx:pt idx="2076">42.057096774193553</cx:pt>
          <cx:pt idx="2077">42.125161290322588</cx:pt>
          <cx:pt idx="2078">42.034838709677423</cx:pt>
          <cx:pt idx="2079">42.030322580645162</cx:pt>
          <cx:pt idx="2080">42.116774193548387</cx:pt>
          <cx:pt idx="2081">42.178709677419356</cx:pt>
          <cx:pt idx="2082">42.152580645161287</cx:pt>
          <cx:pt idx="2083">42.204838709677418</cx:pt>
          <cx:pt idx="2084">42.103225806451611</cx:pt>
          <cx:pt idx="2085">42.147741935483879</cx:pt>
          <cx:pt idx="2086">42.246451612903229</cx:pt>
          <cx:pt idx="2087">42.216774193548396</cx:pt>
          <cx:pt idx="2088">42.226774193548394</cx:pt>
          <cx:pt idx="2089">42.270000000000003</cx:pt>
          <cx:pt idx="2090">42.248387096774195</cx:pt>
          <cx:pt idx="2091">42.229354838709682</cx:pt>
          <cx:pt idx="2092">42.208387096774196</cx:pt>
          <cx:pt idx="2093">42.212258064516135</cx:pt>
          <cx:pt idx="2094">42.235483870967741</cx:pt>
          <cx:pt idx="2095">42.254193548387093</cx:pt>
          <cx:pt idx="2096">42.252903225806449</cx:pt>
          <cx:pt idx="2097">42.231612903225795</cx:pt>
          <cx:pt idx="2098">42.274193548387089</cx:pt>
          <cx:pt idx="2099">42.296451612903212</cx:pt>
          <cx:pt idx="2100">42.321935483870966</cx:pt>
          <cx:pt idx="2101">42.274193548387096</cx:pt>
          <cx:pt idx="2102">42.2458064516129</cx:pt>
          <cx:pt idx="2103">42.248709677419356</cx:pt>
          <cx:pt idx="2104">42.274193548387096</cx:pt>
          <cx:pt idx="2105">42.222580645161301</cx:pt>
          <cx:pt idx="2106">42.183225806451624</cx:pt>
          <cx:pt idx="2107">42.130322580645171</cx:pt>
          <cx:pt idx="2108">42.165161290322587</cx:pt>
          <cx:pt idx="2109">42.273870967741942</cx:pt>
          <cx:pt idx="2110">42.227096774193555</cx:pt>
          <cx:pt idx="2111">42.231290322580648</cx:pt>
          <cx:pt idx="2112">42.164516129032265</cx:pt>
          <cx:pt idx="2113">42.185806451612905</cx:pt>
          <cx:pt idx="2114">42.186451612903241</cx:pt>
          <cx:pt idx="2115">42.25193548387098</cx:pt>
          <cx:pt idx="2116">42.254516129032261</cx:pt>
          <cx:pt idx="2117">42.228064516129038</cx:pt>
          <cx:pt idx="2118">42.185806451612905</cx:pt>
          <cx:pt idx="2119">42.193548387096776</cx:pt>
          <cx:pt idx="2120">42.143225806451611</cx:pt>
          <cx:pt idx="2121">42.163870967741929</cx:pt>
          <cx:pt idx="2122">42.244516129032256</cx:pt>
          <cx:pt idx="2123">42.275161290322579</cx:pt>
          <cx:pt idx="2124">42.259999999999998</cx:pt>
          <cx:pt idx="2125">42.214193548387094</cx:pt>
          <cx:pt idx="2126">42.200645161290318</cx:pt>
          <cx:pt idx="2127">42.287419354838704</cx:pt>
          <cx:pt idx="2128">42.280322580645155</cx:pt>
          <cx:pt idx="2129">42.194193548387091</cx:pt>
          <cx:pt idx="2130">42.234838709677412</cx:pt>
          <cx:pt idx="2131">42.205806451612894</cx:pt>
          <cx:pt idx="2132">42.287096774193543</cx:pt>
          <cx:pt idx="2133">42.32451612903224</cx:pt>
          <cx:pt idx="2134">42.313225806451598</cx:pt>
          <cx:pt idx="2135">42.254193548387086</cx:pt>
          <cx:pt idx="2136">42.256774193548374</cx:pt>
          <cx:pt idx="2137">42.355161290322563</cx:pt>
          <cx:pt idx="2138">42.378387096774176</cx:pt>
          <cx:pt idx="2139">42.284516129032248</cx:pt>
          <cx:pt idx="2140">42.286129032258053</cx:pt>
          <cx:pt idx="2141">42.332258064516125</cx:pt>
          <cx:pt idx="2142">42.315483870967746</cx:pt>
          <cx:pt idx="2143">42.399032258064523</cx:pt>
          <cx:pt idx="2144">42.425161290322592</cx:pt>
          <cx:pt idx="2145">42.405161290322589</cx:pt>
          <cx:pt idx="2146">42.361935483870965</cx:pt>
          <cx:pt idx="2147">42.335161290322581</cx:pt>
          <cx:pt idx="2148">42.316774193548383</cx:pt>
          <cx:pt idx="2149">42.339354838709674</cx:pt>
          <cx:pt idx="2150">42.339999999999996</cx:pt>
          <cx:pt idx="2151">42.341612903225801</cx:pt>
          <cx:pt idx="2152">42.355806451612892</cx:pt>
          <cx:pt idx="2153">42.279354838709665</cx:pt>
          <cx:pt idx="2154">42.215483870967731</cx:pt>
          <cx:pt idx="2155">42.227419354838702</cx:pt>
          <cx:pt idx="2156">42.277419354838706</cx:pt>
          <cx:pt idx="2157">42.282258064516121</cx:pt>
          <cx:pt idx="2158">42.179032258064517</cx:pt>
          <cx:pt idx="2159">42.171290322580646</cx:pt>
          <cx:pt idx="2160">42.17677419354839</cx:pt>
          <cx:pt idx="2161">42.128064516129022</cx:pt>
          <cx:pt idx="2162">42.092580645161284</cx:pt>
          <cx:pt idx="2163">42.04774193548387</cx:pt>
          <cx:pt idx="2164">42.100967741935484</cx:pt>
          <cx:pt idx="2165">42.097741935483874</cx:pt>
          <cx:pt idx="2166">42.170322580645163</cx:pt>
          <cx:pt idx="2167">42.214193548387108</cx:pt>
          <cx:pt idx="2168">42.148387096774208</cx:pt>
          <cx:pt idx="2169">42.164516129032265</cx:pt>
          <cx:pt idx="2170">42.162903225806453</cx:pt>
          <cx:pt idx="2171">42.047419354838702</cx:pt>
          <cx:pt idx="2172">41.939677419354844</cx:pt>
          <cx:pt idx="2173">41.86774193548387</cx:pt>
          <cx:pt idx="2174">41.782258064516128</cx:pt>
          <cx:pt idx="2175">41.77548387096774</cx:pt>
          <cx:pt idx="2176">41.822580645161288</cx:pt>
          <cx:pt idx="2177">41.803225806451607</cx:pt>
          <cx:pt idx="2178">41.762903225806447</cx:pt>
          <cx:pt idx="2179">41.756129032258059</cx:pt>
          <cx:pt idx="2180">41.728387096774192</cx:pt>
          <cx:pt idx="2181">41.752258064516134</cx:pt>
          <cx:pt idx="2182">41.705483870967747</cx:pt>
          <cx:pt idx="2183">41.591612903225808</cx:pt>
          <cx:pt idx="2184">41.643225806451625</cx:pt>
          <cx:pt idx="2185">41.67032258064517</cx:pt>
          <cx:pt idx="2186">41.671612903225807</cx:pt>
          <cx:pt idx="2187">41.686774193548395</cx:pt>
          <cx:pt idx="2188">41.70000000000001</cx:pt>
          <cx:pt idx="2189">41.685483870967744</cx:pt>
          <cx:pt idx="2190">41.626774193548378</cx:pt>
          <cx:pt idx="2191">41.654516129032267</cx:pt>
          <cx:pt idx="2192">41.722580645161294</cx:pt>
          <cx:pt idx="2193">41.752903225806449</cx:pt>
          <cx:pt idx="2194">41.727096774193541</cx:pt>
          <cx:pt idx="2195">41.617741935483863</cx:pt>
          <cx:pt idx="2196">41.598387096774182</cx:pt>
          <cx:pt idx="2197">41.570322580645154</cx:pt>
          <cx:pt idx="2198">41.544193548387092</cx:pt>
          <cx:pt idx="2199">41.551935483870963</cx:pt>
          <cx:pt idx="2200">41.516129032258071</cx:pt>
          <cx:pt idx="2201">41.558064516129043</cx:pt>
          <cx:pt idx="2202">41.558709677419365</cx:pt>
          <cx:pt idx="2203">41.600000000000001</cx:pt>
          <cx:pt idx="2204">41.641290322580659</cx:pt>
          <cx:pt idx="2205">41.635161290322593</cx:pt>
          <cx:pt idx="2206">41.628064516129044</cx:pt>
          <cx:pt idx="2207">41.619032258064529</cx:pt>
          <cx:pt idx="2208">41.71806451612904</cx:pt>
          <cx:pt idx="2209">41.759032258064522</cx:pt>
          <cx:pt idx="2210">41.743225806451619</cx:pt>
          <cx:pt idx="2211">41.724838709677421</cx:pt>
          <cx:pt idx="2212">41.723225806451616</cx:pt>
          <cx:pt idx="2213">41.795483870967743</cx:pt>
          <cx:pt idx="2214">41.839677419354835</cx:pt>
          <cx:pt idx="2215">41.864838709677414</cx:pt>
          <cx:pt idx="2216">41.857419354838711</cx:pt>
          <cx:pt idx="2217">41.84645161290323</cx:pt>
          <cx:pt idx="2218">41.744838709677424</cx:pt>
          <cx:pt idx="2219">41.720000000000006</cx:pt>
          <cx:pt idx="2220">41.755806451612912</cx:pt>
          <cx:pt idx="2221">41.737419354838721</cx:pt>
          <cx:pt idx="2222">41.799354838709682</cx:pt>
          <cx:pt idx="2223">41.553225806451614</cx:pt>
          <cx:pt idx="2224">41.618064516129031</cx:pt>
          <cx:pt idx="2225">41.553548387096768</cx:pt>
          <cx:pt idx="2226">41.723225806451616</cx:pt>
          <cx:pt idx="2227">41.633225806451598</cx:pt>
          <cx:pt idx="2228">41.614516129032253</cx:pt>
          <cx:pt idx="2229">41.72032258064516</cx:pt>
          <cx:pt idx="2230">41.82741935483871</cx:pt>
          <cx:pt idx="2231">41.779354838709686</cx:pt>
          <cx:pt idx="2232">41.658709677419367</cx:pt>
          <cx:pt idx="2233">41.508064516129039</cx:pt>
          <cx:pt idx="2234">41.359677419354846</cx:pt>
          <cx:pt idx="2235">41.485161290322587</cx:pt>
          <cx:pt idx="2236">41.516774193548393</cx:pt>
          <cx:pt idx="2237">41.576129032258066</cx:pt>
          <cx:pt idx="2238">41.502258064516134</cx:pt>
          <cx:pt idx="2239">41.306129032258063</cx:pt>
          <cx:pt idx="2240">41.093225806451606</cx:pt>
          <cx:pt idx="2241">41.083548387096762</cx:pt>
          <cx:pt idx="2242">40.978709677419346</cx:pt>
          <cx:pt idx="2243">41.049354838709661</cx:pt>
          <cx:pt idx="2244">40.919354838709666</cx:pt>
          <cx:pt idx="2245">41.03322580645159</cx:pt>
          <cx:pt idx="2246">40.77677419354837</cx:pt>
          <cx:pt idx="2247">40.595161290322572</cx:pt>
          <cx:pt idx="2248">40.476129032258058</cx:pt>
          <cx:pt idx="2249">40.324516129032247</cx:pt>
          <cx:pt idx="2250">40.327096774193535</cx:pt>
          <cx:pt idx="2251">40.167741935483868</cx:pt>
          <cx:pt idx="2252">39.994838709677417</cx:pt>
          <cx:pt idx="2253">20.336129032258068</cx:pt>
          <cx:pt idx="2254">21.72129032258065</cx:pt>
          <cx:pt idx="2255">23.081935483870971</cx:pt>
          <cx:pt idx="2256">24.372580645161293</cx:pt>
          <cx:pt idx="2257">25.719677419354841</cx:pt>
          <cx:pt idx="2258">27.02741935483871</cx:pt>
          <cx:pt idx="2259">28.379354838709677</cx:pt>
          <cx:pt idx="2260">29.698709677419355</cx:pt>
          <cx:pt idx="2261">31.054838709677416</cx:pt>
          <cx:pt idx="2262">32.361290322580643</cx:pt>
          <cx:pt idx="2263">33.670645161290324</cx:pt>
          <cx:pt idx="2264">35.034516129032255</cx:pt>
          <cx:pt idx="2265">36.404193548387099</cx:pt>
          <cx:pt idx="2266">37.707096774193552</cx:pt>
          <cx:pt idx="2267">39.032580645161289</cx:pt>
          <cx:pt idx="2268">40.373548387096768</cx:pt>
          <cx:pt idx="2269">41.692580645161293</cx:pt>
          <cx:pt idx="2270">41.715483870967738</cx:pt>
          <cx:pt idx="2271">41.707419354838706</cx:pt>
          <cx:pt idx="2272">41.664193548387097</cx:pt>
          <cx:pt idx="2273">41.673225806451605</cx:pt>
          <cx:pt idx="2274">41.670967741935485</cx:pt>
          <cx:pt idx="2275">41.647419354838711</cx:pt>
          <cx:pt idx="2276">41.722258064516126</cx:pt>
          <cx:pt idx="2277">41.697741935483869</cx:pt>
          <cx:pt idx="2278">41.651935483870965</cx:pt>
          <cx:pt idx="2279">41.653548387096777</cx:pt>
          <cx:pt idx="2280">41.687419354838717</cx:pt>
          <cx:pt idx="2281">41.592903225806445</cx:pt>
          <cx:pt idx="2282">41.647419354838711</cx:pt>
          <cx:pt idx="2283">41.537419354838704</cx:pt>
          <cx:pt idx="2284">41.459354838709672</cx:pt>
          <cx:pt idx="2285">41.446129032258057</cx:pt>
          <cx:pt idx="2286">41.501612903225798</cx:pt>
          <cx:pt idx="2287">41.517096774193547</cx:pt>
          <cx:pt idx="2288">41.490967741935485</cx:pt>
          <cx:pt idx="2289">41.520322580645171</cx:pt>
          <cx:pt idx="2290">41.549354838709682</cx:pt>
          <cx:pt idx="2291">41.64806451612904</cx:pt>
          <cx:pt idx="2292">41.644193548387108</cx:pt>
          <cx:pt idx="2293">41.69161290322581</cx:pt>
          <cx:pt idx="2294">41.758064516129039</cx:pt>
          <cx:pt idx="2295">41.811290322580653</cx:pt>
          <cx:pt idx="2296">41.78161290322582</cx:pt>
          <cx:pt idx="2297">41.882258064516144</cx:pt>
          <cx:pt idx="2298">41.95419354838711</cx:pt>
          <cx:pt idx="2299">42.01903225806452</cx:pt>
          <cx:pt idx="2300">42.095161290322572</cx:pt>
          <cx:pt idx="2301">42.077096774193549</cx:pt>
          <cx:pt idx="2302">42.039032258064516</cx:pt>
          <cx:pt idx="2303">42.13645161290323</cx:pt>
          <cx:pt idx="2304">42.023870967741928</cx:pt>
          <cx:pt idx="2305">42.028064516129028</cx:pt>
          <cx:pt idx="2306">41.955161290322586</cx:pt>
          <cx:pt idx="2307">41.943225806451615</cx:pt>
          <cx:pt idx="2308">42.015806451612903</cx:pt>
          <cx:pt idx="2309">42.025161290322572</cx:pt>
          <cx:pt idx="2310">41.922258064516129</cx:pt>
          <cx:pt idx="2311">41.976451612903219</cx:pt>
          <cx:pt idx="2312">41.990645161290317</cx:pt>
          <cx:pt idx="2313">42.025806451612894</cx:pt>
          <cx:pt idx="2314">42.108709677419348</cx:pt>
          <cx:pt idx="2315">42.144838709677423</cx:pt>
          <cx:pt idx="2316">42.167096774193553</cx:pt>
          <cx:pt idx="2317">42.097096774193545</cx:pt>
          <cx:pt idx="2318">42.084193548387091</cx:pt>
          <cx:pt idx="2319">42.120645161290312</cx:pt>
          <cx:pt idx="2320">42.086451612903225</cx:pt>
          <cx:pt idx="2321">42.077419354838703</cx:pt>
          <cx:pt idx="2322">42.072580645161281</cx:pt>
          <cx:pt idx="2323">42.100645161290316</cx:pt>
          <cx:pt idx="2324">42.058064516129029</cx:pt>
          <cx:pt idx="2325">42.013870967741944</cx:pt>
          <cx:pt idx="2326">41.948387096774205</cx:pt>
          <cx:pt idx="2327">41.96806451612904</cx:pt>
          <cx:pt idx="2328">41.934838709677436</cx:pt>
          <cx:pt idx="2329">41.906129032258079</cx:pt>
          <cx:pt idx="2330">41.8325806451613</cx:pt>
          <cx:pt idx="2331">41.759677419354851</cx:pt>
          <cx:pt idx="2332">41.772258064516137</cx:pt>
          <cx:pt idx="2333">41.843548387096781</cx:pt>
          <cx:pt idx="2334">41.822903225806449</cx:pt>
          <cx:pt idx="2335">41.938387096774193</cx:pt>
          <cx:pt idx="2336">42.013225806451608</cx:pt>
          <cx:pt idx="2337">42.108709677419348</cx:pt>
          <cx:pt idx="2338">42.09225806451613</cx:pt>
          <cx:pt idx="2339">42.103225806451604</cx:pt>
          <cx:pt idx="2340">42.201612903225808</cx:pt>
          <cx:pt idx="2341">42.205161290322586</cx:pt>
          <cx:pt idx="2342">42.168709677419358</cx:pt>
          <cx:pt idx="2343">42.16935483870968</cx:pt>
          <cx:pt idx="2344">42.142903225806457</cx:pt>
          <cx:pt idx="2345">42.063870967741941</cx:pt>
          <cx:pt idx="2346">42.112580645161309</cx:pt>
          <cx:pt idx="2347">42.045806451612911</cx:pt>
          <cx:pt idx="2348">42.0741935483871</cx:pt>
          <cx:pt idx="2349">42.115161290322582</cx:pt>
          <cx:pt idx="2350">42.128064516129037</cx:pt>
          <cx:pt idx="2351">42.18</cx:pt>
          <cx:pt idx="2352">42.225483870967743</cx:pt>
          <cx:pt idx="2353">42.199999999999996</cx:pt>
          <cx:pt idx="2354">42.157096774193548</cx:pt>
          <cx:pt idx="2355">42.237419354838714</cx:pt>
          <cx:pt idx="2356">42.22870967741936</cx:pt>
          <cx:pt idx="2357">42.22774193548387</cx:pt>
          <cx:pt idx="2358">42.206451612903223</cx:pt>
          <cx:pt idx="2359">42.22774193548387</cx:pt>
          <cx:pt idx="2360">42.215806451612906</cx:pt>
          <cx:pt idx="2361">42.279677419354833</cx:pt>
          <cx:pt idx="2362">42.329677419354837</cx:pt>
          <cx:pt idx="2363">42.325806451612898</cx:pt>
          <cx:pt idx="2364">42.272903225806445</cx:pt>
          <cx:pt idx="2365">42.254516129032254</cx:pt>
          <cx:pt idx="2366">42.160322580645158</cx:pt>
          <cx:pt idx="2367">42.075483870967737</cx:pt>
          <cx:pt idx="2368">41.971612903225804</cx:pt>
          <cx:pt idx="2369">42.022580645161284</cx:pt>
          <cx:pt idx="2370">42.029354838709665</cx:pt>
          <cx:pt idx="2371">41.983666666666664</cx:pt>
          <cx:pt idx="2372">42.021379310344827</cx:pt>
          <cx:pt idx="2373">42.034285714285708</cx:pt>
          <cx:pt idx="2374">42.071851851851847</cx:pt>
          <cx:pt idx="2375">42.059999999999988</cx:pt>
          <cx:pt idx="2376">42.125599999999991</cx:pt>
          <cx:pt idx="2377">42.089999999999996</cx:pt>
          <cx:pt idx="2378">42.130869565217388</cx:pt>
          <cx:pt idx="2379">42.109090909090909</cx:pt>
          <cx:pt idx="2380">42.1447619047619</cx:pt>
          <cx:pt idx="2381">42.128</cx:pt>
          <cx:pt idx="2382">42.134736842105269</cx:pt>
          <cx:pt idx="2383">42.034444444444453</cx:pt>
          <cx:pt idx="2384">41.976470588235301</cx:pt>
          <cx:pt idx="2385">42.008750000000006</cx:pt>
          <cx:pt idx="2386">41.93333333333333</cx:pt>
          <cx:pt idx="2387">41.999285714285712</cx:pt>
          <cx:pt idx="2388">42.009230769230768</cx:pt>
          <cx:pt idx="2389">42.052500000000002</cx:pt>
          <cx:pt idx="2390">41.953636363636363</cx:pt>
          <cx:pt idx="2391">41.943000000000005</cx:pt>
          <cx:pt idx="2392">41.794444444444444</cx:pt>
          <cx:pt idx="2393">41.701250000000002</cx:pt>
          <cx:pt idx="2394">41.829999999999998</cx:pt>
          <cx:pt idx="2395">41.994999999999997</cx:pt>
          <cx:pt idx="2396">41.939999999999998</cx:pt>
          <cx:pt idx="2397">42.237499999999997</cx:pt>
          <cx:pt idx="2398">42.543333333333329</cx:pt>
          <cx:pt idx="2399">43.549999999999997</cx:pt>
          <cx:pt idx="2400">43.280000000000001</cx:pt>
        </cx:lvl>
      </cx:numDim>
    </cx:data>
    <cx:data id="1">
      <cx:numDim type="val">
        <cx:f>'DRT Rolling Mean'!$D$2:$D$1048576</cx:f>
        <cx:lvl ptCount="2401" formatCode="#,##0.00">
          <cx:pt idx="0">41.757419354838696</cx:pt>
          <cx:pt idx="1">41.740645161290317</cx:pt>
          <cx:pt idx="2">41.794838709677407</cx:pt>
          <cx:pt idx="3">41.828387096774186</cx:pt>
          <cx:pt idx="4">41.912903225806453</cx:pt>
          <cx:pt idx="5">41.901935483870972</cx:pt>
          <cx:pt idx="6">42.003225806451624</cx:pt>
          <cx:pt idx="7">41.973870967741938</cx:pt>
          <cx:pt idx="8">42.00516129032259</cx:pt>
          <cx:pt idx="9">41.987741935483882</cx:pt>
          <cx:pt idx="10">42.016774193548393</cx:pt>
          <cx:pt idx="11">42.075483870967751</cx:pt>
          <cx:pt idx="12">41.996451612903236</cx:pt>
          <cx:pt idx="13">41.931612903225805</cx:pt>
          <cx:pt idx="14">41.87903225806452</cx:pt>
          <cx:pt idx="15">41.84032258064515</cx:pt>
          <cx:pt idx="16">41.891935483870967</cx:pt>
          <cx:pt idx="17">41.893225806451611</cx:pt>
          <cx:pt idx="18">41.887096774193552</cx:pt>
          <cx:pt idx="19">41.877741935483883</cx:pt>
          <cx:pt idx="20">41.851935483870967</cx:pt>
          <cx:pt idx="21">41.911612903225809</cx:pt>
          <cx:pt idx="22">41.849032258064518</cx:pt>
          <cx:pt idx="23">41.920645161290331</cx:pt>
          <cx:pt idx="24">41.937741935483878</cx:pt>
          <cx:pt idx="25">41.936129032258073</cx:pt>
          <cx:pt idx="26">42.028064516129035</cx:pt>
          <cx:pt idx="27">42.021935483870969</cx:pt>
          <cx:pt idx="28">42.075161290322583</cx:pt>
          <cx:pt idx="29">42.030967741935484</cx:pt>
          <cx:pt idx="30">42.016774193548393</cx:pt>
          <cx:pt idx="31">42.105483870967745</cx:pt>
          <cx:pt idx="32">42.09225806451613</cx:pt>
          <cx:pt idx="33">42.015161290322588</cx:pt>
          <cx:pt idx="34">42.007741935483878</cx:pt>
          <cx:pt idx="35">41.97225806451614</cx:pt>
          <cx:pt idx="36">41.920645161290338</cx:pt>
          <cx:pt idx="37">41.827419354838717</cx:pt>
          <cx:pt idx="38">41.923548387096787</cx:pt>
          <cx:pt idx="39">41.910645161290333</cx:pt>
          <cx:pt idx="40">41.980000000000004</cx:pt>
          <cx:pt idx="41">42.001612903225812</cx:pt>
          <cx:pt idx="42">41.924838709677424</cx:pt>
          <cx:pt idx="43">41.948387096774198</cx:pt>
          <cx:pt idx="44">41.959677419354833</cx:pt>
          <cx:pt idx="45">42.009032258064508</cx:pt>
          <cx:pt idx="46">41.98096774193548</cx:pt>
          <cx:pt idx="47">41.977096774193541</cx:pt>
          <cx:pt idx="48">41.946774193548386</cx:pt>
          <cx:pt idx="49">41.912903225806453</cx:pt>
          <cx:pt idx="50">42.024516129032257</cx:pt>
          <cx:pt idx="51">41.991935483870968</cx:pt>
          <cx:pt idx="52">41.902903225806462</cx:pt>
          <cx:pt idx="53">41.99774193548388</cx:pt>
          <cx:pt idx="54">42.00516129032259</cx:pt>
          <cx:pt idx="55">42.03387096774194</cx:pt>
          <cx:pt idx="56">42.020645161290332</cx:pt>
          <cx:pt idx="57">41.953870967741949</cx:pt>
          <cx:pt idx="58">41.882258064516137</cx:pt>
          <cx:pt idx="59">41.887741935483874</cx:pt>
          <cx:pt idx="60">41.975483870967743</cx:pt>
          <cx:pt idx="61">41.984516129032272</cx:pt>
          <cx:pt idx="62">41.9467741935484</cx:pt>
          <cx:pt idx="63">41.945806451612917</cx:pt>
          <cx:pt idx="64">42.020322580645171</cx:pt>
          <cx:pt idx="65">41.985161290322587</cx:pt>
          <cx:pt idx="66">41.950322580645164</cx:pt>
          <cx:pt idx="67">42.011935483870964</cx:pt>
          <cx:pt idx="68">42.023225806451606</cx:pt>
          <cx:pt idx="69">41.980967741935473</cx:pt>
          <cx:pt idx="70">41.930322580645154</cx:pt>
          <cx:pt idx="71">41.928064516129027</cx:pt>
          <cx:pt idx="72">41.880967741935471</cx:pt>
          <cx:pt idx="73">41.970967741935482</cx:pt>
          <cx:pt idx="74">41.973548387096777</cx:pt>
          <cx:pt idx="75">42.036774193548389</cx:pt>
          <cx:pt idx="76">42.023225806451613</cx:pt>
          <cx:pt idx="77">42.037741935483872</cx:pt>
          <cx:pt idx="78">41.962580645161289</cx:pt>
          <cx:pt idx="79">41.933870967741939</cx:pt>
          <cx:pt idx="80">42.021935483870955</cx:pt>
          <cx:pt idx="81">41.953870967741921</cx:pt>
          <cx:pt idx="82">41.955806451612894</cx:pt>
          <cx:pt idx="83">42.049354838709668</cx:pt>
          <cx:pt idx="84">41.958387096774189</cx:pt>
          <cx:pt idx="85">41.920000000000002</cx:pt>
          <cx:pt idx="86">41.861612903225804</cx:pt>
          <cx:pt idx="87">41.862580645161287</cx:pt>
          <cx:pt idx="88">41.877419354838722</cx:pt>
          <cx:pt idx="89">41.894516129032269</cx:pt>
          <cx:pt idx="90">41.888064516129042</cx:pt>
          <cx:pt idx="91">41.795806451612904</cx:pt>
          <cx:pt idx="92">41.871935483870963</cx:pt>
          <cx:pt idx="93">41.847741935483867</cx:pt>
          <cx:pt idx="94">41.9216129032258</cx:pt>
          <cx:pt idx="95">41.93967741935483</cx:pt>
          <cx:pt idx="96">41.913548387096768</cx:pt>
          <cx:pt idx="97">41.919677419354841</cx:pt>
          <cx:pt idx="98">41.833225806451601</cx:pt>
          <cx:pt idx="99">41.882258064516115</cx:pt>
          <cx:pt idx="100">41.832580645161279</cx:pt>
          <cx:pt idx="101">41.840967741935472</cx:pt>
          <cx:pt idx="102">41.847419354838706</cx:pt>
          <cx:pt idx="103">41.834516129032252</cx:pt>
          <cx:pt idx="104">41.836129032258057</cx:pt>
          <cx:pt idx="105">41.801935483870956</cx:pt>
          <cx:pt idx="106">41.783225806451604</cx:pt>
          <cx:pt idx="107">41.7416129032258</cx:pt>
          <cx:pt idx="108">41.759999999999998</cx:pt>
          <cx:pt idx="109">41.813548387096773</cx:pt>
          <cx:pt idx="110">41.836774193548379</cx:pt>
          <cx:pt idx="111">41.865806451612897</cx:pt>
          <cx:pt idx="112">41.830322580645159</cx:pt>
          <cx:pt idx="113">41.928709677419356</cx:pt>
          <cx:pt idx="114">41.87580645161291</cx:pt>
          <cx:pt idx="115">41.870645161290334</cx:pt>
          <cx:pt idx="116">41.84322580645162</cx:pt>
          <cx:pt idx="117">41.85032258064517</cx:pt>
          <cx:pt idx="118">41.805483870967748</cx:pt>
          <cx:pt idx="119">41.775806451612908</cx:pt>
          <cx:pt idx="120">41.757096774193549</cx:pt>
          <cx:pt idx="121">41.732903225806446</cx:pt>
          <cx:pt idx="122">41.819677419354832</cx:pt>
          <cx:pt idx="123">41.738064516129029</cx:pt>
          <cx:pt idx="124">41.743548387096766</cx:pt>
          <cx:pt idx="125">41.725483870967743</cx:pt>
          <cx:pt idx="126">41.667096774193553</cx:pt>
          <cx:pt idx="127">41.783225806451611</cx:pt>
          <cx:pt idx="128">41.771935483870969</cx:pt>
          <cx:pt idx="129">41.839354838709681</cx:pt>
          <cx:pt idx="130">41.797419354838716</cx:pt>
          <cx:pt idx="131">41.84225806451613</cx:pt>
          <cx:pt idx="132">41.913225806451621</cx:pt>
          <cx:pt idx="133">41.844838709677418</cx:pt>
          <cx:pt idx="134">41.908064516129031</cx:pt>
          <cx:pt idx="135">41.876129032258056</cx:pt>
          <cx:pt idx="136">41.902580645161294</cx:pt>
          <cx:pt idx="137">41.903225806451616</cx:pt>
          <cx:pt idx="138">41.926129032258068</cx:pt>
          <cx:pt idx="139">41.904516129032267</cx:pt>
          <cx:pt idx="140">41.826451612903234</cx:pt>
          <cx:pt idx="141">41.748064516129041</cx:pt>
          <cx:pt idx="142">41.730967741935501</cx:pt>
          <cx:pt idx="143">41.812258064516143</cx:pt>
          <cx:pt idx="144">41.761290322580656</cx:pt>
          <cx:pt idx="145">41.786774193548403</cx:pt>
          <cx:pt idx="146">41.772903225806466</cx:pt>
          <cx:pt idx="147">41.818387096774202</cx:pt>
          <cx:pt idx="148">41.894516129032262</cx:pt>
          <cx:pt idx="149">41.968387096774194</cx:pt>
          <cx:pt idx="150">42.054193548387097</cx:pt>
          <cx:pt idx="151">42.050967741935487</cx:pt>
          <cx:pt idx="152">42.068709677419356</cx:pt>
          <cx:pt idx="153">42.041935483870972</cx:pt>
          <cx:pt idx="154">42.114838709677436</cx:pt>
          <cx:pt idx="155">42.165483870967755</cx:pt>
          <cx:pt idx="156">42.145806451612906</cx:pt>
          <cx:pt idx="157">42.181290322580644</cx:pt>
          <cx:pt idx="158">42.159032258064514</cx:pt>
          <cx:pt idx="159">42.134838709677425</cx:pt>
          <cx:pt idx="160">42.159677419354843</cx:pt>
          <cx:pt idx="161">42.220645161290321</cx:pt>
          <cx:pt idx="162">42.203225806451613</cx:pt>
          <cx:pt idx="163">42.187096774193563</cx:pt>
          <cx:pt idx="164">42.176451612903236</cx:pt>
          <cx:pt idx="165">42.173870967741948</cx:pt>
          <cx:pt idx="166">42.181290322580658</cx:pt>
          <cx:pt idx="167">42.17870967741937</cx:pt>
          <cx:pt idx="168">42.151290322580664</cx:pt>
          <cx:pt idx="169">42.179032258064524</cx:pt>
          <cx:pt idx="170">42.244516129032263</cx:pt>
          <cx:pt idx="171">42.326451612903227</cx:pt>
          <cx:pt idx="172">42.428709677419356</cx:pt>
          <cx:pt idx="173">42.323870967741932</cx:pt>
          <cx:pt idx="174">42.289354838709677</cx:pt>
          <cx:pt idx="175">42.308709677419351</cx:pt>
          <cx:pt idx="176">42.215161290322577</cx:pt>
          <cx:pt idx="177">42.215806451612899</cx:pt>
          <cx:pt idx="178">42.15290322580644</cx:pt>
          <cx:pt idx="179">42.151612903225796</cx:pt>
          <cx:pt idx="180">42.103225806451597</cx:pt>
          <cx:pt idx="181">42.034193548387087</cx:pt>
          <cx:pt idx="182">42.040645161290314</cx:pt>
          <cx:pt idx="183">42.059999999999988</cx:pt>
          <cx:pt idx="184">42.076774193548381</cx:pt>
          <cx:pt idx="185">41.984838709677419</cx:pt>
          <cx:pt idx="186">41.922903225806458</cx:pt>
          <cx:pt idx="187">41.968387096774201</cx:pt>
          <cx:pt idx="188">41.894193548387101</cx:pt>
          <cx:pt idx="189">41.804193548387097</cx:pt>
          <cx:pt idx="190">41.852580645161289</cx:pt>
          <cx:pt idx="191">41.776774193548384</cx:pt>
          <cx:pt idx="192">41.770645161290318</cx:pt>
          <cx:pt idx="193">41.817419354838698</cx:pt>
          <cx:pt idx="194">41.748709677419349</cx:pt>
          <cx:pt idx="195">41.814516129032249</cx:pt>
          <cx:pt idx="196">41.841935483870941</cx:pt>
          <cx:pt idx="197">41.788064516129019</cx:pt>
          <cx:pt idx="198">41.823870967741925</cx:pt>
          <cx:pt idx="199">41.772580645161277</cx:pt>
          <cx:pt idx="200">41.791290322580643</cx:pt>
          <cx:pt idx="201">41.750645161290315</cx:pt>
          <cx:pt idx="202">41.714838709677416</cx:pt>
          <cx:pt idx="203">41.608709677419355</cx:pt>
          <cx:pt idx="204">41.686774193548388</cx:pt>
          <cx:pt idx="205">41.699354838709674</cx:pt>
          <cx:pt idx="206">41.625806451612895</cx:pt>
          <cx:pt idx="207">41.63548387096774</cx:pt>
          <cx:pt idx="208">41.655483870967736</cx:pt>
          <cx:pt idx="209">41.748387096774181</cx:pt>
          <cx:pt idx="210">41.694193548387091</cx:pt>
          <cx:pt idx="211">41.635161290322586</cx:pt>
          <cx:pt idx="212">41.599032258064511</cx:pt>
          <cx:pt idx="213">41.727419354838709</cx:pt>
          <cx:pt idx="214">41.753870967741939</cx:pt>
          <cx:pt idx="215">41.791612903225804</cx:pt>
          <cx:pt idx="216">41.928064516129041</cx:pt>
          <cx:pt idx="217">41.980322580645165</cx:pt>
          <cx:pt idx="218">41.965806451612906</cx:pt>
          <cx:pt idx="219">42.101612903225806</cx:pt>
          <cx:pt idx="220">42.164193548387097</cx:pt>
          <cx:pt idx="221">42.191935483870964</cx:pt>
          <cx:pt idx="222">42.254193548387086</cx:pt>
          <cx:pt idx="223">42.282580645161282</cx:pt>
          <cx:pt idx="224">42.332580645161286</cx:pt>
          <cx:pt idx="225">42.418709677419358</cx:pt>
          <cx:pt idx="226">42.377419354838715</cx:pt>
          <cx:pt idx="227">42.328064516129025</cx:pt>
          <cx:pt idx="228">42.399354838709684</cx:pt>
          <cx:pt idx="229">42.482903225806453</cx:pt>
          <cx:pt idx="230">42.545806451612897</cx:pt>
          <cx:pt idx="231">42.589677419354828</cx:pt>
          <cx:pt idx="232">42.704193548387089</cx:pt>
          <cx:pt idx="233">42.745806451612893</cx:pt>
          <cx:pt idx="234">42.868709677419346</cx:pt>
          <cx:pt idx="235">42.861290322580643</cx:pt>
          <cx:pt idx="236">42.884838709677425</cx:pt>
          <cx:pt idx="237">43.02967741935484</cx:pt>
          <cx:pt idx="238">43.097741935483874</cx:pt>
          <cx:pt idx="239">43.219032258064523</cx:pt>
          <cx:pt idx="240">43.217419354838718</cx:pt>
          <cx:pt idx="241">43.238064516129036</cx:pt>
          <cx:pt idx="242">43.293548387096777</cx:pt>
          <cx:pt idx="243">43.424193548387102</cx:pt>
          <cx:pt idx="244">43.438064516129039</cx:pt>
          <cx:pt idx="245">43.366451612903226</cx:pt>
          <cx:pt idx="246">43.341935483870962</cx:pt>
          <cx:pt idx="247">43.354838709677416</cx:pt>
          <cx:pt idx="248">43.393870967741933</cx:pt>
          <cx:pt idx="249">43.411935483870963</cx:pt>
          <cx:pt idx="250">43.418064516129029</cx:pt>
          <cx:pt idx="251">43.415806451612902</cx:pt>
          <cx:pt idx="252">43.468709677419348</cx:pt>
          <cx:pt idx="253">43.438064516129032</cx:pt>
          <cx:pt idx="254">43.431612903225812</cx:pt>
          <cx:pt idx="255">43.372258064516117</cx:pt>
          <cx:pt idx="256">43.295483870967743</cx:pt>
          <cx:pt idx="257">43.235806451612902</cx:pt>
          <cx:pt idx="258">43.219677419354838</cx:pt>
          <cx:pt idx="259">43.13225806451613</cx:pt>
          <cx:pt idx="260">43.038387096774187</cx:pt>
          <cx:pt idx="261">42.996774193548376</cx:pt>
          <cx:pt idx="262">42.927096774193544</cx:pt>
          <cx:pt idx="263">42.80419354838709</cx:pt>
          <cx:pt idx="264">42.694516129032252</cx:pt>
          <cx:pt idx="265">42.625161290322573</cx:pt>
          <cx:pt idx="266">42.552580645161292</cx:pt>
          <cx:pt idx="267">42.469032258064516</cx:pt>
          <cx:pt idx="268">42.337741935483869</cx:pt>
          <cx:pt idx="269">42.262903225806461</cx:pt>
          <cx:pt idx="270">42.133225806451634</cx:pt>
          <cx:pt idx="271">42.112580645161309</cx:pt>
          <cx:pt idx="272">42.082903225806461</cx:pt>
          <cx:pt idx="273">42.061935483870975</cx:pt>
          <cx:pt idx="274">42.04548387096775</cx:pt>
          <cx:pt idx="275">42.019677419354842</cx:pt>
          <cx:pt idx="276">42.044838709677421</cx:pt>
          <cx:pt idx="277">41.941612903225817</cx:pt>
          <cx:pt idx="278">41.843225806451613</cx:pt>
          <cx:pt idx="279">41.732258064516131</cx:pt>
          <cx:pt idx="280">41.702903225806459</cx:pt>
          <cx:pt idx="281">41.565483870967746</cx:pt>
          <cx:pt idx="282">41.607419354838711</cx:pt>
          <cx:pt idx="283">41.470000000000006</cx:pt>
          <cx:pt idx="284">41.409354838709682</cx:pt>
          <cx:pt idx="285">41.358709677419363</cx:pt>
          <cx:pt idx="286">41.335161290322581</cx:pt>
          <cx:pt idx="287">41.330967741935481</cx:pt>
          <cx:pt idx="288">41.385161290322579</cx:pt>
          <cx:pt idx="289">41.357096774193543</cx:pt>
          <cx:pt idx="290">41.388387096774196</cx:pt>
          <cx:pt idx="291">41.450322580645164</cx:pt>
          <cx:pt idx="292">41.538709677419355</cx:pt>
          <cx:pt idx="293">41.470967741935482</cx:pt>
          <cx:pt idx="294">41.47354838709677</cx:pt>
          <cx:pt idx="295">41.585483870967735</cx:pt>
          <cx:pt idx="296">41.579999999999991</cx:pt>
          <cx:pt idx="297">41.582258064516132</cx:pt>
          <cx:pt idx="298">41.682903225806449</cx:pt>
          <cx:pt idx="299">41.792903225806448</cx:pt>
          <cx:pt idx="300">41.803870967741936</cx:pt>
          <cx:pt idx="301">41.803225806451614</cx:pt>
          <cx:pt idx="302">41.730645161290319</cx:pt>
          <cx:pt idx="303">41.809677419354834</cx:pt>
          <cx:pt idx="304">41.814516129032256</cx:pt>
          <cx:pt idx="305">41.814516129032256</cx:pt>
          <cx:pt idx="306">41.792258064516133</cx:pt>
          <cx:pt idx="307">41.698064516129037</cx:pt>
          <cx:pt idx="308">41.789354838709677</cx:pt>
          <cx:pt idx="309">41.825161290322576</cx:pt>
          <cx:pt idx="310">41.887419354838713</cx:pt>
          <cx:pt idx="311">41.855806451612899</cx:pt>
          <cx:pt idx="312">41.881935483870969</cx:pt>
          <cx:pt idx="313">41.800645161290319</cx:pt>
          <cx:pt idx="314">41.916774193548385</cx:pt>
          <cx:pt idx="315">41.932903225806449</cx:pt>
          <cx:pt idx="316">41.881612903225793</cx:pt>
          <cx:pt idx="317">41.873870967741915</cx:pt>
          <cx:pt idx="318">41.864516129032246</cx:pt>
          <cx:pt idx="319">41.867096774193541</cx:pt>
          <cx:pt idx="320">41.958709677419357</cx:pt>
          <cx:pt idx="321">41.986129032258063</cx:pt>
          <cx:pt idx="322">41.961612903225806</cx:pt>
          <cx:pt idx="323">41.945161290322581</cx:pt>
          <cx:pt idx="324">41.969354838709677</cx:pt>
          <cx:pt idx="325">41.945483870967742</cx:pt>
          <cx:pt idx="326">41.894193548387101</cx:pt>
          <cx:pt idx="327">41.928387096774195</cx:pt>
          <cx:pt idx="328">42.012580645161286</cx:pt>
          <cx:pt idx="329">42.016774193548386</cx:pt>
          <cx:pt idx="330">41.916129032258063</cx:pt>
          <cx:pt idx="331">41.961290322580638</cx:pt>
          <cx:pt idx="332">41.94387096774193</cx:pt>
          <cx:pt idx="333">41.958064516129028</cx:pt>
          <cx:pt idx="334">41.931935483870966</cx:pt>
          <cx:pt idx="335">41.944516129032259</cx:pt>
          <cx:pt idx="336">41.865806451612897</cx:pt>
          <cx:pt idx="337">41.885806451612908</cx:pt>
          <cx:pt idx="338">41.924838709677431</cx:pt>
          <cx:pt idx="339">41.943548387096783</cx:pt>
          <cx:pt idx="340">41.927096774193551</cx:pt>
          <cx:pt idx="341">41.960645161290323</cx:pt>
          <cx:pt idx="342">42.046451612903219</cx:pt>
          <cx:pt idx="343">42.092258064516123</cx:pt>
          <cx:pt idx="344">42.141290322580645</cx:pt>
          <cx:pt idx="345">42.051612903225802</cx:pt>
          <cx:pt idx="346">42.125483870967734</cx:pt>
          <cx:pt idx="347">42.184193548387086</cx:pt>
          <cx:pt idx="348">42.223870967741924</cx:pt>
          <cx:pt idx="349">42.255161290322562</cx:pt>
          <cx:pt idx="350">42.283548387096751</cx:pt>
          <cx:pt idx="351">42.217096774193543</cx:pt>
          <cx:pt idx="352">42.195161290322574</cx:pt>
          <cx:pt idx="353">42.212258064516121</cx:pt>
          <cx:pt idx="354">42.192258064516125</cx:pt>
          <cx:pt idx="355">42.185483870967737</cx:pt>
          <cx:pt idx="356">42.257741935483871</cx:pt>
          <cx:pt idx="357">42.21290322580645</cx:pt>
          <cx:pt idx="358">42.157096774193541</cx:pt>
          <cx:pt idx="359">42.078387096774179</cx:pt>
          <cx:pt idx="360">42.033870967741919</cx:pt>
          <cx:pt idx="361">42.012580645161272</cx:pt>
          <cx:pt idx="362">41.959999999999987</cx:pt>
          <cx:pt idx="363">41.98419354838709</cx:pt>
          <cx:pt idx="364">42.059677419354827</cx:pt>
          <cx:pt idx="365">41.968387096774194</cx:pt>
          <cx:pt idx="366">42.008709677419354</cx:pt>
          <cx:pt idx="367">42.018709677419352</cx:pt>
          <cx:pt idx="368">41.973225806451616</cx:pt>
          <cx:pt idx="369">41.992903225806458</cx:pt>
          <cx:pt idx="370">41.920645161290338</cx:pt>
          <cx:pt idx="371">41.88000000000001</cx:pt>
          <cx:pt idx="372">41.8725806451613</cx:pt>
          <cx:pt idx="373">41.787419354838711</cx:pt>
          <cx:pt idx="374">41.721612903225811</cx:pt>
          <cx:pt idx="375">41.705806451612901</cx:pt>
          <cx:pt idx="376">41.678387096774188</cx:pt>
          <cx:pt idx="377">41.672258064516122</cx:pt>
          <cx:pt idx="378">41.626129032258056</cx:pt>
          <cx:pt idx="379">41.650967741935474</cx:pt>
          <cx:pt idx="380">41.664838709677419</cx:pt>
          <cx:pt idx="381">41.64612903225806</cx:pt>
          <cx:pt idx="382">41.643548387096772</cx:pt>
          <cx:pt idx="383">41.659354838709682</cx:pt>
          <cx:pt idx="384">41.66290322580646</cx:pt>
          <cx:pt idx="385">41.690000000000005</cx:pt>
          <cx:pt idx="386">41.686451612903241</cx:pt>
          <cx:pt idx="387">41.614838709677421</cx:pt>
          <cx:pt idx="388">41.642903225806464</cx:pt>
          <cx:pt idx="389">41.693548387096783</cx:pt>
          <cx:pt idx="390">41.693548387096776</cx:pt>
          <cx:pt idx="391">41.650645161290328</cx:pt>
          <cx:pt idx="392">41.71935483870967</cx:pt>
          <cx:pt idx="393">41.795483870967736</cx:pt>
          <cx:pt idx="394">41.828709677419347</cx:pt>
          <cx:pt idx="395">41.794838709677414</cx:pt>
          <cx:pt idx="396">41.802903225806446</cx:pt>
          <cx:pt idx="397">41.789032258064509</cx:pt>
          <cx:pt idx="398">41.860322580645153</cx:pt>
          <cx:pt idx="399">41.804516129032251</cx:pt>
          <cx:pt idx="400">41.866451612903219</cx:pt>
          <cx:pt idx="401">41.831935483870964</cx:pt>
          <cx:pt idx="402">41.846774193548377</cx:pt>
          <cx:pt idx="403">41.845806451612894</cx:pt>
          <cx:pt idx="404">41.938064516129025</cx:pt>
          <cx:pt idx="405">41.938387096774193</cx:pt>
          <cx:pt idx="406">41.909354838709675</cx:pt>
          <cx:pt idx="407">41.918709677419351</cx:pt>
          <cx:pt idx="408">41.875483870967734</cx:pt>
          <cx:pt idx="409">41.950322580645164</cx:pt>
          <cx:pt idx="410">41.893870967741933</cx:pt>
          <cx:pt idx="411">41.915483870967741</cx:pt>
          <cx:pt idx="412">41.953225806451613</cx:pt>
          <cx:pt idx="413">41.970645161290321</cx:pt>
          <cx:pt idx="414">41.886129032258069</cx:pt>
          <cx:pt idx="415">41.858709677419355</cx:pt>
          <cx:pt idx="416">41.784838709677423</cx:pt>
          <cx:pt idx="417">41.788387096774201</cx:pt>
          <cx:pt idx="418">41.808387096774197</cx:pt>
          <cx:pt idx="419">41.876774193548393</cx:pt>
          <cx:pt idx="420">41.810000000000002</cx:pt>
          <cx:pt idx="421">41.916774193548399</cx:pt>
          <cx:pt idx="422">41.940322580645166</cx:pt>
          <cx:pt idx="423">41.878709677419359</cx:pt>
          <cx:pt idx="424">41.833870967741923</cx:pt>
          <cx:pt idx="425">41.824838709677415</cx:pt>
          <cx:pt idx="426">41.816451612903215</cx:pt>
          <cx:pt idx="427">41.916451612903224</cx:pt>
          <cx:pt idx="428">41.947741935483869</cx:pt>
          <cx:pt idx="429">41.917419354838707</cx:pt>
          <cx:pt idx="430">42.00548387096773</cx:pt>
          <cx:pt idx="431">41.992580645161283</cx:pt>
          <cx:pt idx="432">42.085806451612903</cx:pt>
          <cx:pt idx="433">42.100645161290323</cx:pt>
          <cx:pt idx="434">42.057419354838707</cx:pt>
          <cx:pt idx="435">41.970645161290335</cx:pt>
          <cx:pt idx="436">42.067096774193551</cx:pt>
          <cx:pt idx="437">42.078064516129039</cx:pt>
          <cx:pt idx="438">42.077096774193549</cx:pt>
          <cx:pt idx="439">42.046774193548387</cx:pt>
          <cx:pt idx="440">42.010967741935488</cx:pt>
          <cx:pt idx="441">41.988064516129036</cx:pt>
          <cx:pt idx="442">41.989677419354841</cx:pt>
          <cx:pt idx="443">41.894193548387108</cx:pt>
          <cx:pt idx="444">41.948064516129037</cx:pt>
          <cx:pt idx="445">42.020967741935479</cx:pt>
          <cx:pt idx="446">42.035483870967738</cx:pt>
          <cx:pt idx="447">42.085806451612896</cx:pt>
          <cx:pt idx="448">42.101935483870953</cx:pt>
          <cx:pt idx="449">42.166129032258056</cx:pt>
          <cx:pt idx="450">42.151612903225796</cx:pt>
          <cx:pt idx="451">42.26064516129032</cx:pt>
          <cx:pt idx="452">42.24064516129031</cx:pt>
          <cx:pt idx="453">42.281612903225792</cx:pt>
          <cx:pt idx="454">42.368064516129024</cx:pt>
          <cx:pt idx="455">42.336451612903211</cx:pt>
          <cx:pt idx="456">42.395483870967745</cx:pt>
          <cx:pt idx="457">42.354516129032255</cx:pt>
          <cx:pt idx="458">42.263870967741937</cx:pt>
          <cx:pt idx="459">42.177741935483873</cx:pt>
          <cx:pt idx="460">42.132580645161298</cx:pt>
          <cx:pt idx="461">42.040322580645167</cx:pt>
          <cx:pt idx="462">42.01580645161291</cx:pt>
          <cx:pt idx="463">42.030000000000008</cx:pt>
          <cx:pt idx="464">42.006451612903234</cx:pt>
          <cx:pt idx="465">41.960967741935491</cx:pt>
          <cx:pt idx="466">41.934838709677429</cx:pt>
          <cx:pt idx="467">41.812258064516129</cx:pt>
          <cx:pt idx="468">41.844193548387089</cx:pt>
          <cx:pt idx="469">41.945161290322574</cx:pt>
          <cx:pt idx="470">42.048709677419353</cx:pt>
          <cx:pt idx="471">42.030000000000001</cx:pt>
          <cx:pt idx="472">42.065483870967739</cx:pt>
          <cx:pt idx="473">42.038709677419355</cx:pt>
          <cx:pt idx="474">42.064516129032263</cx:pt>
          <cx:pt idx="475">42.037741935483872</cx:pt>
          <cx:pt idx="476">42.008387096774193</cx:pt>
          <cx:pt idx="477">41.962258064516128</cx:pt>
          <cx:pt idx="478">41.930645161290322</cx:pt>
          <cx:pt idx="479">41.910322580645165</cx:pt>
          <cx:pt idx="480">41.848064516129028</cx:pt>
          <cx:pt idx="481">41.794838709677414</cx:pt>
          <cx:pt idx="482">41.754516129032261</cx:pt>
          <cx:pt idx="483">41.744838709677424</cx:pt>
          <cx:pt idx="484">41.690000000000005</cx:pt>
          <cx:pt idx="485">41.618387096774192</cx:pt>
          <cx:pt idx="486">41.701935483870969</cx:pt>
          <cx:pt idx="487">41.613870967741931</cx:pt>
          <cx:pt idx="488">41.649999999999999</cx:pt>
          <cx:pt idx="489">41.731290322580648</cx:pt>
          <cx:pt idx="490">41.709032258064518</cx:pt>
          <cx:pt idx="491">41.681612903225805</cx:pt>
          <cx:pt idx="492">41.759677419354837</cx:pt>
          <cx:pt idx="493">41.725483870967736</cx:pt>
          <cx:pt idx="494">41.682258064516127</cx:pt>
          <cx:pt idx="495">41.674516129032249</cx:pt>
          <cx:pt idx="496">41.710645161290316</cx:pt>
          <cx:pt idx="497">41.725161290322582</cx:pt>
          <cx:pt idx="498">41.738064516129036</cx:pt>
          <cx:pt idx="499">41.719677419354845</cx:pt>
          <cx:pt idx="500">41.707741935483881</cx:pt>
          <cx:pt idx="501">41.704516129032278</cx:pt>
          <cx:pt idx="502">41.703225806451627</cx:pt>
          <cx:pt idx="503">41.640967741935498</cx:pt>
          <cx:pt idx="504">41.704193548387103</cx:pt>
          <cx:pt idx="505">41.735806451612909</cx:pt>
          <cx:pt idx="506">41.755483870967751</cx:pt>
          <cx:pt idx="507">41.777096774193559</cx:pt>
          <cx:pt idx="508">41.740000000000009</cx:pt>
          <cx:pt idx="509">41.796129032258079</cx:pt>
          <cx:pt idx="510">41.886129032258083</cx:pt>
          <cx:pt idx="511">41.973548387096777</cx:pt>
          <cx:pt idx="512">42.017741935483869</cx:pt>
          <cx:pt idx="513">41.98193548387097</cx:pt>
          <cx:pt idx="514">41.960322580645162</cx:pt>
          <cx:pt idx="515">41.994516129032242</cx:pt>
          <cx:pt idx="516">42.085483870967721</cx:pt>
          <cx:pt idx="517">42.108387096774173</cx:pt>
          <cx:pt idx="518">42.144838709677394</cx:pt>
          <cx:pt idx="519">42.199677419354828</cx:pt>
          <cx:pt idx="520">42.146451612903213</cx:pt>
          <cx:pt idx="521">42.190967741935481</cx:pt>
          <cx:pt idx="522">42.278709677419343</cx:pt>
          <cx:pt idx="523">42.246774193548383</cx:pt>
          <cx:pt idx="524">42.211290322580638</cx:pt>
          <cx:pt idx="525">42.205161290322572</cx:pt>
          <cx:pt idx="526">42.270967741935486</cx:pt>
          <cx:pt idx="527">42.264516129032259</cx:pt>
          <cx:pt idx="528">42.354516129032255</cx:pt>
          <cx:pt idx="529">42.457741935483881</cx:pt>
          <cx:pt idx="530">42.426451612903236</cx:pt>
          <cx:pt idx="531">42.398387096774201</cx:pt>
          <cx:pt idx="532">42.391612903225813</cx:pt>
          <cx:pt idx="533">42.454193548387103</cx:pt>
          <cx:pt idx="534">42.576774193548388</cx:pt>
          <cx:pt idx="535">42.531935483870974</cx:pt>
          <cx:pt idx="536">42.566451612903229</cx:pt>
          <cx:pt idx="537">42.469032258064516</cx:pt>
          <cx:pt idx="538">42.414516129032258</cx:pt>
          <cx:pt idx="539">42.502580645161288</cx:pt>
          <cx:pt idx="540">42.494193548387095</cx:pt>
          <cx:pt idx="541">42.370322580645151</cx:pt>
          <cx:pt idx="542">42.268387096774191</cx:pt>
          <cx:pt idx="543">42.295806451612897</cx:pt>
          <cx:pt idx="544">42.25741935483871</cx:pt>
          <cx:pt idx="545">42.254516129032261</cx:pt>
          <cx:pt idx="546">42.212580645161289</cx:pt>
          <cx:pt idx="547">42.212580645161289</cx:pt>
          <cx:pt idx="548">42.165806451612909</cx:pt>
          <cx:pt idx="549">42.20967741935484</cx:pt>
          <cx:pt idx="550">42.194193548387091</cx:pt>
          <cx:pt idx="551">42.222258064516119</cx:pt>
          <cx:pt idx="552">42.217419354838704</cx:pt>
          <cx:pt idx="553">42.149032258064508</cx:pt>
          <cx:pt idx="554">42.199677419354842</cx:pt>
          <cx:pt idx="555">42.214193548387101</cx:pt>
          <cx:pt idx="556">42.263225806451615</cx:pt>
          <cx:pt idx="557">42.267741935483876</cx:pt>
          <cx:pt idx="558">42.333870967741937</cx:pt>
          <cx:pt idx="559">42.221935483870972</cx:pt>
          <cx:pt idx="560">42.22451612903226</cx:pt>
          <cx:pt idx="561">42.32</cx:pt>
          <cx:pt idx="562">42.248387096774195</cx:pt>
          <cx:pt idx="563">42.147741935483872</cx:pt>
          <cx:pt idx="564">42.109032258064516</cx:pt>
          <cx:pt idx="565">42.02967741935484</cx:pt>
          <cx:pt idx="566">42.01580645161291</cx:pt>
          <cx:pt idx="567">41.962258064516128</cx:pt>
          <cx:pt idx="568">41.962903225806464</cx:pt>
          <cx:pt idx="569">42.007419354838717</cx:pt>
          <cx:pt idx="570">41.995161290322592</cx:pt>
          <cx:pt idx="571">41.910645161290333</cx:pt>
          <cx:pt idx="572">41.99354838709678</cx:pt>
          <cx:pt idx="573">42.101935483870975</cx:pt>
          <cx:pt idx="574">41.983225806451621</cx:pt>
          <cx:pt idx="575">42.006129032258066</cx:pt>
          <cx:pt idx="576">41.992903225806451</cx:pt>
          <cx:pt idx="577">42.049999999999997</cx:pt>
          <cx:pt idx="578">42.019032258064513</cx:pt>
          <cx:pt idx="579">42.00741935483871</cx:pt>
          <cx:pt idx="580">41.926129032258068</cx:pt>
          <cx:pt idx="581">41.890322580645169</cx:pt>
          <cx:pt idx="582">41.844193548387103</cx:pt>
          <cx:pt idx="583">41.857096774193558</cx:pt>
          <cx:pt idx="584">41.836774193548393</cx:pt>
          <cx:pt idx="585">41.772580645161291</cx:pt>
          <cx:pt idx="586">41.799032258064521</cx:pt>
          <cx:pt idx="587">41.730000000000004</cx:pt>
          <cx:pt idx="588">41.643548387096786</cx:pt>
          <cx:pt idx="589">41.65451612903226</cx:pt>
          <cx:pt idx="590">41.740000000000002</cx:pt>
          <cx:pt idx="591">41.674516129032263</cx:pt>
          <cx:pt idx="592">41.624516129032266</cx:pt>
          <cx:pt idx="593">41.663548387096782</cx:pt>
          <cx:pt idx="594">41.752258064516127</cx:pt>
          <cx:pt idx="595">41.810645161290317</cx:pt>
          <cx:pt idx="596">41.884838709677425</cx:pt>
          <cx:pt idx="597">41.953225806451613</cx:pt>
          <cx:pt idx="598">42.01161290322581</cx:pt>
          <cx:pt idx="599">42.085161290322574</cx:pt>
          <cx:pt idx="600">42.047419354838709</cx:pt>
          <cx:pt idx="601">42.0083870967742</cx:pt>
          <cx:pt idx="602">42.122903225806461</cx:pt>
          <cx:pt idx="603">42.157096774193562</cx:pt>
          <cx:pt idx="604">42.173870967741948</cx:pt>
          <cx:pt idx="605">42.333870967741944</cx:pt>
          <cx:pt idx="606">42.438709677419368</cx:pt>
          <cx:pt idx="607">42.469354838709691</cx:pt>
          <cx:pt idx="608">42.513225806451622</cx:pt>
          <cx:pt idx="609">42.569354838709671</cx:pt>
          <cx:pt idx="610">42.601290322580638</cx:pt>
          <cx:pt idx="611">42.679677419354839</cx:pt>
          <cx:pt idx="612">42.729999999999997</cx:pt>
          <cx:pt idx="613">42.833548387096769</cx:pt>
          <cx:pt idx="614">42.890645161290323</cx:pt>
          <cx:pt idx="615">42.977741935483863</cx:pt>
          <cx:pt idx="616">43.035806451612892</cx:pt>
          <cx:pt idx="617">43.112903225806448</cx:pt>
          <cx:pt idx="618">43.196774193548393</cx:pt>
          <cx:pt idx="619">43.27322580645162</cx:pt>
          <cx:pt idx="620">43.308064516129043</cx:pt>
          <cx:pt idx="621">43.368064516129031</cx:pt>
          <cx:pt idx="622">43.423225806451626</cx:pt>
          <cx:pt idx="623">43.434516129032268</cx:pt>
          <cx:pt idx="624">43.485161290322594</cx:pt>
          <cx:pt idx="625">43.491290322580653</cx:pt>
          <cx:pt idx="626">43.488709677419358</cx:pt>
          <cx:pt idx="627">43.475806451612904</cx:pt>
          <cx:pt idx="628">43.451290322580647</cx:pt>
          <cx:pt idx="629">43.498387096774195</cx:pt>
          <cx:pt idx="630">43.549677419354836</cx:pt>
          <cx:pt idx="631">43.690967741935488</cx:pt>
          <cx:pt idx="632">43.718387096774201</cx:pt>
          <cx:pt idx="633">43.661290322580648</cx:pt>
          <cx:pt idx="634">43.662580645161292</cx:pt>
          <cx:pt idx="635">43.635483870967747</cx:pt>
          <cx:pt idx="636">43.57</cx:pt>
          <cx:pt idx="637">43.50322580645161</cx:pt>
          <cx:pt idx="638">43.573548387096764</cx:pt>
          <cx:pt idx="639">43.527419354838706</cx:pt>
          <cx:pt idx="640">43.526774193548377</cx:pt>
          <cx:pt idx="641">43.595806451612887</cx:pt>
          <cx:pt idx="642">43.569354838709671</cx:pt>
          <cx:pt idx="643">43.545161290322561</cx:pt>
          <cx:pt idx="644">43.511290322580635</cx:pt>
          <cx:pt idx="645">43.39967741935483</cx:pt>
          <cx:pt idx="646">43.30225806451611</cx:pt>
          <cx:pt idx="647">43.265483870967728</cx:pt>
          <cx:pt idx="648">43.239677419354827</cx:pt>
          <cx:pt idx="649">43.134193548387081</cx:pt>
          <cx:pt idx="650">43.095483870967733</cx:pt>
          <cx:pt idx="651">42.957419354838706</cx:pt>
          <cx:pt idx="652">42.908387096774184</cx:pt>
          <cx:pt idx="653">42.865161290322568</cx:pt>
          <cx:pt idx="654">42.851612903225792</cx:pt>
          <cx:pt idx="655">42.77032258064515</cx:pt>
          <cx:pt idx="656">42.774193548387096</cx:pt>
          <cx:pt idx="657">42.744838709677417</cx:pt>
          <cx:pt idx="658">42.767419354838701</cx:pt>
          <cx:pt idx="659">42.735483870967741</cx:pt>
          <cx:pt idx="660">42.605806451612899</cx:pt>
          <cx:pt idx="661">42.542258064516133</cx:pt>
          <cx:pt idx="662">42.472903225806462</cx:pt>
          <cx:pt idx="663">42.408064516129045</cx:pt>
          <cx:pt idx="664">42.446129032258078</cx:pt>
          <cx:pt idx="665">42.352580645161297</cx:pt>
          <cx:pt idx="666">42.24774193548388</cx:pt>
          <cx:pt idx="667">42.177419354838719</cx:pt>
          <cx:pt idx="668">42.112903225806456</cx:pt>
          <cx:pt idx="669">42.086774193548386</cx:pt>
          <cx:pt idx="670">42.109677419354838</cx:pt>
          <cx:pt idx="671">42.001290322580644</cx:pt>
          <cx:pt idx="672">41.853548387096772</cx:pt>
          <cx:pt idx="673">41.895806451612906</cx:pt>
          <cx:pt idx="674">41.825806451612905</cx:pt>
          <cx:pt idx="675">41.842580645161291</cx:pt>
          <cx:pt idx="676">41.921612903225807</cx:pt>
          <cx:pt idx="677">41.960645161290316</cx:pt>
          <cx:pt idx="678">41.967419354838711</cx:pt>
          <cx:pt idx="679">41.97870967741936</cx:pt>
          <cx:pt idx="680">42.055483870967748</cx:pt>
          <cx:pt idx="681">42.091290322580647</cx:pt>
          <cx:pt idx="682">42.136129032258069</cx:pt>
          <cx:pt idx="683">42.145161290322584</cx:pt>
          <cx:pt idx="684">42.153870967741938</cx:pt>
          <cx:pt idx="685">42.095806451612894</cx:pt>
          <cx:pt idx="686">42.138387096774196</cx:pt>
          <cx:pt idx="687">42.11258064516128</cx:pt>
          <cx:pt idx="688">42.087741935483862</cx:pt>
          <cx:pt idx="689">42.058387096774183</cx:pt>
          <cx:pt idx="690">42.11258064516128</cx:pt>
          <cx:pt idx="691">42.087741935483862</cx:pt>
          <cx:pt idx="692">42.025806451612887</cx:pt>
          <cx:pt idx="693">42.011290322580628</cx:pt>
          <cx:pt idx="694">42.030645161290302</cx:pt>
          <cx:pt idx="695">41.99806451612902</cx:pt>
          <cx:pt idx="696">41.977419354838702</cx:pt>
          <cx:pt idx="697">42.027096774193545</cx:pt>
          <cx:pt idx="698">42.026774193548384</cx:pt>
          <cx:pt idx="699">42.064838709677424</cx:pt>
          <cx:pt idx="700">41.986451612903238</cx:pt>
          <cx:pt idx="701">41.980322580645165</cx:pt>
          <cx:pt idx="702">42.013225806451615</cx:pt>
          <cx:pt idx="703">42.063225806451612</cx:pt>
          <cx:pt idx="704">42.053870967741929</cx:pt>
          <cx:pt idx="705">42.091612903225801</cx:pt>
          <cx:pt idx="706">42.058064516129029</cx:pt>
          <cx:pt idx="707">42.068709677419349</cx:pt>
          <cx:pt idx="708">42.083225806451608</cx:pt>
          <cx:pt idx="709">42.11354838709677</cx:pt>
          <cx:pt idx="710">42.074838709677422</cx:pt>
          <cx:pt idx="711">42.053225806451621</cx:pt>
          <cx:pt idx="712">42.052258064516131</cx:pt>
          <cx:pt idx="713">42.084516129032259</cx:pt>
          <cx:pt idx="714">42.094193548387096</cx:pt>
          <cx:pt idx="715">42.022903225806452</cx:pt>
          <cx:pt idx="716">42.093225806451613</cx:pt>
          <cx:pt idx="717">42.096129032258069</cx:pt>
          <cx:pt idx="718">42.076774193548395</cx:pt>
          <cx:pt idx="719">42.101935483870975</cx:pt>
          <cx:pt idx="720">42.125161290322588</cx:pt>
          <cx:pt idx="721">42.135483870967747</cx:pt>
          <cx:pt idx="722">42.252903225806442</cx:pt>
          <cx:pt idx="723">42.25967741935483</cx:pt>
          <cx:pt idx="724">42.310645161290317</cx:pt>
          <cx:pt idx="725">42.395483870967745</cx:pt>
          <cx:pt idx="726">42.33064516129032</cx:pt>
          <cx:pt idx="727">42.328064516129032</cx:pt>
          <cx:pt idx="728">42.337419354838715</cx:pt>
          <cx:pt idx="729">42.3241935483871</cx:pt>
          <cx:pt idx="730">42.399677419354845</cx:pt>
          <cx:pt idx="731">42.351935483870967</cx:pt>
          <cx:pt idx="732">42.368064516129031</cx:pt>
          <cx:pt idx="733">42.376774193548378</cx:pt>
          <cx:pt idx="734">42.403870967741938</cx:pt>
          <cx:pt idx="735">42.33709677419354</cx:pt>
          <cx:pt idx="736">42.378387096774198</cx:pt>
          <cx:pt idx="737">42.398387096774201</cx:pt>
          <cx:pt idx="738">42.377419354838715</cx:pt>
          <cx:pt idx="739">42.378387096774205</cx:pt>
          <cx:pt idx="740">42.358709677419355</cx:pt>
          <cx:pt idx="741">42.390967741935491</cx:pt>
          <cx:pt idx="742">42.332580645161293</cx:pt>
          <cx:pt idx="743">42.30193548387097</cx:pt>
          <cx:pt idx="744">42.272258064516123</cx:pt>
          <cx:pt idx="745">42.206774193548391</cx:pt>
          <cx:pt idx="746">42.276129032258062</cx:pt>
          <cx:pt idx="747">42.207741935483867</cx:pt>
          <cx:pt idx="748">42.219032258064502</cx:pt>
          <cx:pt idx="749">42.194516129032252</cx:pt>
          <cx:pt idx="750">42.195806451612903</cx:pt>
          <cx:pt idx="751">42.138709677419357</cx:pt>
          <cx:pt idx="752">42.112903225806448</cx:pt>
          <cx:pt idx="753">42.104838709677423</cx:pt>
          <cx:pt idx="754">42.160000000000004</cx:pt>
          <cx:pt idx="755">42.042903225806455</cx:pt>
          <cx:pt idx="756">41.971935483870965</cx:pt>
          <cx:pt idx="757">41.982258064516131</cx:pt>
          <cx:pt idx="758">41.994516129032256</cx:pt>
          <cx:pt idx="759">42.030322580645148</cx:pt>
          <cx:pt idx="760">42.083225806451608</cx:pt>
          <cx:pt idx="761">42.038709677419348</cx:pt>
          <cx:pt idx="762">42.092580645161284</cx:pt>
          <cx:pt idx="763">41.99258064516129</cx:pt>
          <cx:pt idx="764">42.007741935483871</cx:pt>
          <cx:pt idx="765">42.015806451612903</cx:pt>
          <cx:pt idx="766">41.995806451612907</cx:pt>
          <cx:pt idx="767">41.96387096774194</cx:pt>
          <cx:pt idx="768">41.947741935483876</cx:pt>
          <cx:pt idx="769">41.891290322580652</cx:pt>
          <cx:pt idx="770">41.926451612903229</cx:pt>
          <cx:pt idx="771">41.877096774193539</cx:pt>
          <cx:pt idx="772">41.807096774193532</cx:pt>
          <cx:pt idx="773">41.867741935483856</cx:pt>
          <cx:pt idx="774">41.89709677419355</cx:pt>
          <cx:pt idx="775">41.856774193548375</cx:pt>
          <cx:pt idx="776">41.867741935483856</cx:pt>
          <cx:pt idx="777">41.885161290322564</cx:pt>
          <cx:pt idx="778">41.935806451612898</cx:pt>
          <cx:pt idx="779">41.957419354838699</cx:pt>
          <cx:pt idx="780">41.931290322580644</cx:pt>
          <cx:pt idx="781">41.936129032258059</cx:pt>
          <cx:pt idx="782">41.975483870967736</cx:pt>
          <cx:pt idx="783">41.919032258064526</cx:pt>
          <cx:pt idx="784">41.808387096774197</cx:pt>
          <cx:pt idx="785">41.841290322580647</cx:pt>
          <cx:pt idx="786">41.922903225806451</cx:pt>
          <cx:pt idx="787">41.959032258064511</cx:pt>
          <cx:pt idx="788">41.945806451612903</cx:pt>
          <cx:pt idx="789">41.951612903225808</cx:pt>
          <cx:pt idx="790">41.971612903225804</cx:pt>
          <cx:pt idx="791">41.936129032258066</cx:pt>
          <cx:pt idx="792">41.931612903225805</cx:pt>
          <cx:pt idx="793">41.953225806451613</cx:pt>
          <cx:pt idx="794">41.960645161290323</cx:pt>
          <cx:pt idx="795">41.976451612903226</cx:pt>
          <cx:pt idx="796">41.905161290322582</cx:pt>
          <cx:pt idx="797">41.912258064516131</cx:pt>
          <cx:pt idx="798">41.922903225806458</cx:pt>
          <cx:pt idx="799">41.86032258064516</cx:pt>
          <cx:pt idx="800">41.932258064516141</cx:pt>
          <cx:pt idx="801">41.840967741935486</cx:pt>
          <cx:pt idx="802">41.907741935483877</cx:pt>
          <cx:pt idx="803">41.907096774193562</cx:pt>
          <cx:pt idx="804">41.8725806451613</cx:pt>
          <cx:pt idx="805">41.837096774193554</cx:pt>
          <cx:pt idx="806">41.887419354838727</cx:pt>
          <cx:pt idx="807">41.919354838709687</cx:pt>
          <cx:pt idx="808">41.845161290322586</cx:pt>
          <cx:pt idx="809">41.816451612903229</cx:pt>
          <cx:pt idx="810">41.797096774193548</cx:pt>
          <cx:pt idx="811">41.89806451612904</cx:pt>
          <cx:pt idx="812">41.886774193548391</cx:pt>
          <cx:pt idx="813">41.82741935483871</cx:pt>
          <cx:pt idx="814">41.904193548387106</cx:pt>
          <cx:pt idx="815">41.905483870967743</cx:pt>
          <cx:pt idx="816">41.867419354838709</cx:pt>
          <cx:pt idx="817">41.780645161290323</cx:pt>
          <cx:pt idx="818">41.717419354838711</cx:pt>
          <cx:pt idx="819">41.755483870967737</cx:pt>
          <cx:pt idx="820">41.818387096774195</cx:pt>
          <cx:pt idx="821">41.807096774193546</cx:pt>
          <cx:pt idx="822">41.859032258064509</cx:pt>
          <cx:pt idx="823">41.877096774193532</cx:pt>
          <cx:pt idx="824">41.815806451612893</cx:pt>
          <cx:pt idx="825">41.817419354838705</cx:pt>
          <cx:pt idx="826">41.812580645161283</cx:pt>
          <cx:pt idx="827">41.880967741935486</cx:pt>
          <cx:pt idx="828">41.913548387096768</cx:pt>
          <cx:pt idx="829">41.878709677419344</cx:pt>
          <cx:pt idx="830">41.899354838709677</cx:pt>
          <cx:pt idx="831">41.8732258064516</cx:pt>
          <cx:pt idx="832">41.920322580645156</cx:pt>
          <cx:pt idx="833">41.827741935483871</cx:pt>
          <cx:pt idx="834">41.810322580645163</cx:pt>
          <cx:pt idx="835">41.851290322580653</cx:pt>
          <cx:pt idx="836">41.800322580645165</cx:pt>
          <cx:pt idx="837">41.840322580645164</cx:pt>
          <cx:pt idx="838">41.753225806451617</cx:pt>
          <cx:pt idx="839">41.779032258064518</cx:pt>
          <cx:pt idx="840">41.862258064516126</cx:pt>
          <cx:pt idx="841">41.849354838709672</cx:pt>
          <cx:pt idx="842">41.827419354838703</cx:pt>
          <cx:pt idx="843">41.793870967741931</cx:pt>
          <cx:pt idx="844">41.806451612903224</cx:pt>
          <cx:pt idx="845">41.746451612903222</cx:pt>
          <cx:pt idx="846">41.757419354838703</cx:pt>
          <cx:pt idx="847">41.78387096774194</cx:pt>
          <cx:pt idx="848">41.859999999999999</cx:pt>
          <cx:pt idx="849">41.935806451612912</cx:pt>
          <cx:pt idx="850">41.980322580645172</cx:pt>
          <cx:pt idx="851">41.983548387096782</cx:pt>
          <cx:pt idx="852">41.990645161290324</cx:pt>
          <cx:pt idx="853">41.948387096774198</cx:pt>
          <cx:pt idx="854">41.976451612903226</cx:pt>
          <cx:pt idx="855">41.973548387096777</cx:pt>
          <cx:pt idx="856">42.065483870967739</cx:pt>
          <cx:pt idx="857">42.008064516129025</cx:pt>
          <cx:pt idx="858">41.967419354838704</cx:pt>
          <cx:pt idx="859">42.00967741935483</cx:pt>
          <cx:pt idx="860">42.087419354838694</cx:pt>
          <cx:pt idx="861">42.066451612903222</cx:pt>
          <cx:pt idx="862">42.102580645161282</cx:pt>
          <cx:pt idx="863">42.104516129032255</cx:pt>
          <cx:pt idx="864">42.08806451612903</cx:pt>
          <cx:pt idx="865">42.191935483870964</cx:pt>
          <cx:pt idx="866">42.213225806451604</cx:pt>
          <cx:pt idx="867">42.299999999999997</cx:pt>
          <cx:pt idx="868">42.307741935483868</cx:pt>
          <cx:pt idx="869">42.355161290322584</cx:pt>
          <cx:pt idx="870">42.405806451612911</cx:pt>
          <cx:pt idx="871">42.377096774193561</cx:pt>
          <cx:pt idx="872">42.347741935483882</cx:pt>
          <cx:pt idx="873">42.347096774193545</cx:pt>
          <cx:pt idx="874">42.370967741935495</cx:pt>
          <cx:pt idx="875">42.349032258064526</cx:pt>
          <cx:pt idx="876">42.344838709677425</cx:pt>
          <cx:pt idx="877">42.363870967741939</cx:pt>
          <cx:pt idx="878">42.320645161290329</cx:pt>
          <cx:pt idx="879">42.298064516129031</cx:pt>
          <cx:pt idx="880">42.324516129032254</cx:pt>
          <cx:pt idx="881">42.272258064516123</cx:pt>
          <cx:pt idx="882">42.223870967741931</cx:pt>
          <cx:pt idx="883">42.198064516129023</cx:pt>
          <cx:pt idx="884">42.264193548387091</cx:pt>
          <cx:pt idx="885">42.179677419354832</cx:pt>
          <cx:pt idx="886">42.264516129032252</cx:pt>
          <cx:pt idx="887">42.214838709677416</cx:pt>
          <cx:pt idx="888">42.234193548387097</cx:pt>
          <cx:pt idx="889">42.290645161290321</cx:pt>
          <cx:pt idx="890">42.259999999999991</cx:pt>
          <cx:pt idx="891">42.154838709677421</cx:pt>
          <cx:pt idx="892">42.192903225806454</cx:pt>
          <cx:pt idx="893">42.196129032258064</cx:pt>
          <cx:pt idx="894">42.16193548387097</cx:pt>
          <cx:pt idx="895">42.193225806451615</cx:pt>
          <cx:pt idx="896">42.131612903225808</cx:pt>
          <cx:pt idx="897">42.114838709677414</cx:pt>
          <cx:pt idx="898">42.130645161290325</cx:pt>
          <cx:pt idx="899">42.027741935483867</cx:pt>
          <cx:pt idx="900">42.008387096774193</cx:pt>
          <cx:pt idx="901">41.985483870967748</cx:pt>
          <cx:pt idx="902">41.941290322580649</cx:pt>
          <cx:pt idx="903">42.029032258064518</cx:pt>
          <cx:pt idx="904">41.996451612903229</cx:pt>
          <cx:pt idx="905">42.049032258064514</cx:pt>
          <cx:pt idx="906">42.050322580645165</cx:pt>
          <cx:pt idx="907">42.019677419354828</cx:pt>
          <cx:pt idx="908">42.083548387096769</cx:pt>
          <cx:pt idx="909">42.045806451612904</cx:pt>
          <cx:pt idx="910">42.038387096774194</cx:pt>
          <cx:pt idx="911">41.934516129032268</cx:pt>
          <cx:pt idx="912">41.968387096774201</cx:pt>
          <cx:pt idx="913">42.022903225806459</cx:pt>
          <cx:pt idx="914">41.971290322580657</cx:pt>
          <cx:pt idx="915">41.982580645161292</cx:pt>
          <cx:pt idx="916">42.014193548387098</cx:pt>
          <cx:pt idx="917">41.933225806451617</cx:pt>
          <cx:pt idx="918">41.9341935483871</cx:pt>
          <cx:pt idx="919">41.890967741935476</cx:pt>
          <cx:pt idx="920">41.821612903225798</cx:pt>
          <cx:pt idx="921">41.78193548387096</cx:pt>
          <cx:pt idx="922">41.87903225806452</cx:pt>
          <cx:pt idx="923">41.874516129032251</cx:pt>
          <cx:pt idx="924">41.806774193548385</cx:pt>
          <cx:pt idx="925">41.862258064516126</cx:pt>
          <cx:pt idx="926">41.945806451612903</cx:pt>
          <cx:pt idx="927">41.950645161290318</cx:pt>
          <cx:pt idx="928">41.96709677419355</cx:pt>
          <cx:pt idx="929">41.878064516129044</cx:pt>
          <cx:pt idx="930">41.911290322580655</cx:pt>
          <cx:pt idx="931">41.945483870967756</cx:pt>
          <cx:pt idx="932">41.902903225806469</cx:pt>
          <cx:pt idx="933">41.875161290322595</cx:pt>
          <cx:pt idx="934">41.812580645161304</cx:pt>
          <cx:pt idx="935">41.834516129032266</cx:pt>
          <cx:pt idx="936">41.719677419354852</cx:pt>
          <cx:pt idx="937">41.731935483870977</cx:pt>
          <cx:pt idx="938">41.819677419354846</cx:pt>
          <cx:pt idx="939">41.778064516129035</cx:pt>
          <cx:pt idx="940">41.795161290322582</cx:pt>
          <cx:pt idx="941">41.775806451612908</cx:pt>
          <cx:pt idx="942">41.811612903225807</cx:pt>
          <cx:pt idx="943">41.830322580645166</cx:pt>
          <cx:pt idx="944">41.792903225806455</cx:pt>
          <cx:pt idx="945">41.82741935483871</cx:pt>
          <cx:pt idx="946">41.832258064516132</cx:pt>
          <cx:pt idx="947">41.809354838709687</cx:pt>
          <cx:pt idx="948">41.851935483870975</cx:pt>
          <cx:pt idx="949">41.879354838709688</cx:pt>
          <cx:pt idx="950">41.971290322580657</cx:pt>
          <cx:pt idx="951">41.980967741935487</cx:pt>
          <cx:pt idx="952">42.028709677419364</cx:pt>
          <cx:pt idx="953">42.014516129032266</cx:pt>
          <cx:pt idx="954">41.963548387096779</cx:pt>
          <cx:pt idx="955">42.04451612903226</cx:pt>
          <cx:pt idx="956">42.002580645161288</cx:pt>
          <cx:pt idx="957">41.893870967741933</cx:pt>
          <cx:pt idx="958">41.925483870967739</cx:pt>
          <cx:pt idx="959">41.933548387096778</cx:pt>
          <cx:pt idx="960">41.932580645161295</cx:pt>
          <cx:pt idx="961">42.006774193548388</cx:pt>
          <cx:pt idx="962">41.949032258064527</cx:pt>
          <cx:pt idx="963">42.024516129032264</cx:pt>
          <cx:pt idx="964">42.090000000000003</cx:pt>
          <cx:pt idx="965">42.114838709677421</cx:pt>
          <cx:pt idx="966">42.056774193548392</cx:pt>
          <cx:pt idx="967">42.053225806451621</cx:pt>
          <cx:pt idx="968">42.126451612903239</cx:pt>
          <cx:pt idx="969">42.079999999999991</cx:pt>
          <cx:pt idx="970">42.104838709677416</cx:pt>
          <cx:pt idx="971">42.179999999999993</cx:pt>
          <cx:pt idx="972">42.187096774193542</cx:pt>
          <cx:pt idx="973">42.173870967741934</cx:pt>
          <cx:pt idx="974">42.206129032258069</cx:pt>
          <cx:pt idx="975">42.187741935483878</cx:pt>
          <cx:pt idx="976">42.164193548387104</cx:pt>
          <cx:pt idx="977">42.115806451612904</cx:pt>
          <cx:pt idx="978">42.125483870967749</cx:pt>
          <cx:pt idx="979">42.171612903225807</cx:pt>
          <cx:pt idx="980">42.171612903225814</cx:pt>
          <cx:pt idx="981">42.131612903225815</cx:pt>
          <cx:pt idx="982">42.109354838709685</cx:pt>
          <cx:pt idx="983">42.049677419354843</cx:pt>
          <cx:pt idx="984">42.019677419354842</cx:pt>
          <cx:pt idx="985">42.053548387096775</cx:pt>
          <cx:pt idx="986">41.960967741935484</cx:pt>
          <cx:pt idx="987">41.9874193548387</cx:pt>
          <cx:pt idx="988">42.084516129032252</cx:pt>
          <cx:pt idx="989">42.062258064516122</cx:pt>
          <cx:pt idx="990">41.958387096774196</cx:pt>
          <cx:pt idx="991">42.071290322580644</cx:pt>
          <cx:pt idx="992">41.994838709677431</cx:pt>
          <cx:pt idx="993">42.063225806451619</cx:pt>
          <cx:pt idx="994">42.051935483870963</cx:pt>
          <cx:pt idx="995">41.997096774193551</cx:pt>
          <cx:pt idx="996">41.933870967741939</cx:pt>
          <cx:pt idx="997">41.965161290322577</cx:pt>
          <cx:pt idx="998">42.036451612903221</cx:pt>
          <cx:pt idx="999">41.989032258064505</cx:pt>
          <cx:pt idx="1000">41.976451612903219</cx:pt>
          <cx:pt idx="1001">41.9216129032258</cx:pt>
          <cx:pt idx="1002">41.929354838709678</cx:pt>
          <cx:pt idx="1003">41.940322580645159</cx:pt>
          <cx:pt idx="1004">41.905806451612904</cx:pt>
          <cx:pt idx="1005">41.876774193548378</cx:pt>
          <cx:pt idx="1006">41.879999999999988</cx:pt>
          <cx:pt idx="1007">41.898709677419355</cx:pt>
          <cx:pt idx="1008">41.952903225806452</cx:pt>
          <cx:pt idx="1009">41.979677419354843</cx:pt>
          <cx:pt idx="1010">41.929032258064517</cx:pt>
          <cx:pt idx="1011">41.939677419354837</cx:pt>
          <cx:pt idx="1012">41.938709677419361</cx:pt>
          <cx:pt idx="1013">42.039677419354845</cx:pt>
          <cx:pt idx="1014">42.129677419354849</cx:pt>
          <cx:pt idx="1015">42.119032258064529</cx:pt>
          <cx:pt idx="1016">42.149032258064523</cx:pt>
          <cx:pt idx="1017">42.182580645161302</cx:pt>
          <cx:pt idx="1018">42.244516129032263</cx:pt>
          <cx:pt idx="1019">42.150967741935489</cx:pt>
          <cx:pt idx="1020">42.100000000000001</cx:pt>
          <cx:pt idx="1021">42.093225806451613</cx:pt>
          <cx:pt idx="1022">42.07</cx:pt>
          <cx:pt idx="1023">42.118709677419353</cx:pt>
          <cx:pt idx="1024">42.098064516129035</cx:pt>
          <cx:pt idx="1025">42.100000000000001</cx:pt>
          <cx:pt idx="1026">42.081290322580649</cx:pt>
          <cx:pt idx="1027">42.116451612903226</cx:pt>
          <cx:pt idx="1028">42.096774193548384</cx:pt>
          <cx:pt idx="1029">42.099032258064518</cx:pt>
          <cx:pt idx="1030">42.046451612903226</cx:pt>
          <cx:pt idx="1031">42.038709677419355</cx:pt>
          <cx:pt idx="1032">42.020322580645157</cx:pt>
          <cx:pt idx="1033">42.027419354838706</cx:pt>
          <cx:pt idx="1034">41.992580645161297</cx:pt>
          <cx:pt idx="1035">42.048064516129038</cx:pt>
          <cx:pt idx="1036">42.010645161290334</cx:pt>
          <cx:pt idx="1037">42.000000000000007</cx:pt>
          <cx:pt idx="1038">41.986774193548399</cx:pt>
          <cx:pt idx="1039">41.929677419354853</cx:pt>
          <cx:pt idx="1040">41.945483870967756</cx:pt>
          <cx:pt idx="1041">41.983548387096782</cx:pt>
          <cx:pt idx="1042">42.002903225806456</cx:pt>
          <cx:pt idx="1043">42.033225806451611</cx:pt>
          <cx:pt idx="1044">42.055483870967741</cx:pt>
          <cx:pt idx="1045">42.038064516129019</cx:pt>
          <cx:pt idx="1046">42.078387096774179</cx:pt>
          <cx:pt idx="1047">42.132580645161269</cx:pt>
          <cx:pt idx="1048">42.206774193548384</cx:pt>
          <cx:pt idx="1049">42.23419354838709</cx:pt>
          <cx:pt idx="1050">42.341935483870969</cx:pt>
          <cx:pt idx="1051">42.400322580645167</cx:pt>
          <cx:pt idx="1052">42.470645161290342</cx:pt>
          <cx:pt idx="1053">42.513870967741944</cx:pt>
          <cx:pt idx="1054">42.586774193548393</cx:pt>
          <cx:pt idx="1055">42.607419354838719</cx:pt>
          <cx:pt idx="1056">42.634516129032264</cx:pt>
          <cx:pt idx="1057">42.752258064516134</cx:pt>
          <cx:pt idx="1058">42.822258064516134</cx:pt>
          <cx:pt idx="1059">42.895161290322591</cx:pt>
          <cx:pt idx="1060">42.914516129032265</cx:pt>
          <cx:pt idx="1061">43.050645161290326</cx:pt>
          <cx:pt idx="1062">43.132903225806459</cx:pt>
          <cx:pt idx="1063">43.274838709677425</cx:pt>
          <cx:pt idx="1064">43.284193548387094</cx:pt>
          <cx:pt idx="1065">43.342258064516123</cx:pt>
          <cx:pt idx="1066">43.38967741935484</cx:pt>
          <cx:pt idx="1067">43.481935483870963</cx:pt>
          <cx:pt idx="1068">43.516451612903218</cx:pt>
          <cx:pt idx="1069">43.611935483870965</cx:pt>
          <cx:pt idx="1070">43.615161290322575</cx:pt>
          <cx:pt idx="1071">43.61677419354838</cx:pt>
          <cx:pt idx="1072">43.655161290322575</cx:pt>
          <cx:pt idx="1073">43.595806451612901</cx:pt>
          <cx:pt idx="1074">43.590645161290318</cx:pt>
          <cx:pt idx="1075">43.541935483870965</cx:pt>
          <cx:pt idx="1076">43.514193548387098</cx:pt>
          <cx:pt idx="1077">43.482258064516117</cx:pt>
          <cx:pt idx="1078">43.4341935483871</cx:pt>
          <cx:pt idx="1079">43.400967741935482</cx:pt>
          <cx:pt idx="1080">43.410322580645158</cx:pt>
          <cx:pt idx="1081">43.425806451612907</cx:pt>
          <cx:pt idx="1082">43.465483870967745</cx:pt>
          <cx:pt idx="1083">43.398709677419362</cx:pt>
          <cx:pt idx="1084">43.348064516129035</cx:pt>
          <cx:pt idx="1085">43.251290322580651</cx:pt>
          <cx:pt idx="1086">43.247096774193558</cx:pt>
          <cx:pt idx="1087">43.193548387096776</cx:pt>
          <cx:pt idx="1088">43.088387096774198</cx:pt>
          <cx:pt idx="1089">42.979999999999997</cx:pt>
          <cx:pt idx="1090">42.905483870967743</cx:pt>
          <cx:pt idx="1091">42.834516129032259</cx:pt>
          <cx:pt idx="1092">42.689677419354844</cx:pt>
          <cx:pt idx="1093">42.635161290322579</cx:pt>
          <cx:pt idx="1094">42.504838709677408</cx:pt>
          <cx:pt idx="1095">42.385483870967725</cx:pt>
          <cx:pt idx="1096">42.32548387096773</cx:pt>
          <cx:pt idx="1097">42.220322580645153</cx:pt>
          <cx:pt idx="1098">42.162258064516116</cx:pt>
          <cx:pt idx="1099">42.154193548387092</cx:pt>
          <cx:pt idx="1100">42.039677419354831</cx:pt>
          <cx:pt idx="1101">42.029677419354833</cx:pt>
          <cx:pt idx="1102">42.04677419354838</cx:pt>
          <cx:pt idx="1103">41.958387096774189</cx:pt>
          <cx:pt idx="1104">41.909354838709682</cx:pt>
          <cx:pt idx="1105">41.86354838709677</cx:pt>
          <cx:pt idx="1106">41.844516129032257</cx:pt>
          <cx:pt idx="1107">41.790645161290321</cx:pt>
          <cx:pt idx="1108">41.78709677419355</cx:pt>
          <cx:pt idx="1109">41.778387096774203</cx:pt>
          <cx:pt idx="1110">41.69483870967742</cx:pt>
          <cx:pt idx="1111">41.540000000000006</cx:pt>
          <cx:pt idx="1112">41.428064516129034</cx:pt>
          <cx:pt idx="1113">41.320322580645168</cx:pt>
          <cx:pt idx="1114">41.401612903225818</cx:pt>
          <cx:pt idx="1115">41.433870967741946</cx:pt>
          <cx:pt idx="1116">41.427741935483887</cx:pt>
          <cx:pt idx="1117">41.460322580645176</cx:pt>
          <cx:pt idx="1118">41.421612903225821</cx:pt>
          <cx:pt idx="1119">41.454838709677432</cx:pt>
          <cx:pt idx="1120">41.453548387096781</cx:pt>
          <cx:pt idx="1121">41.549354838709682</cx:pt>
          <cx:pt idx="1122">41.647096774193557</cx:pt>
          <cx:pt idx="1123">41.749032258064517</cx:pt>
          <cx:pt idx="1124">41.729999999999997</cx:pt>
          <cx:pt idx="1125">41.779999999999994</cx:pt>
          <cx:pt idx="1126">41.822580645161288</cx:pt>
          <cx:pt idx="1127">41.842580645161284</cx:pt>
          <cx:pt idx="1128">41.85935483870967</cx:pt>
          <cx:pt idx="1129">41.857419354838704</cx:pt>
          <cx:pt idx="1130">41.883548387096781</cx:pt>
          <cx:pt idx="1131">41.924193548387095</cx:pt>
          <cx:pt idx="1132">41.882258064516115</cx:pt>
          <cx:pt idx="1133">41.774838709677411</cx:pt>
          <cx:pt idx="1134">41.834193548387077</cx:pt>
          <cx:pt idx="1135">41.878064516129015</cx:pt>
          <cx:pt idx="1136">41.909677419354828</cx:pt>
          <cx:pt idx="1137">41.905483870967736</cx:pt>
          <cx:pt idx="1138">41.993225806451598</cx:pt>
          <cx:pt idx="1139">41.968387096774187</cx:pt>
          <cx:pt idx="1140">41.986774193548378</cx:pt>
          <cx:pt idx="1141">42.019032258064506</cx:pt>
          <cx:pt idx="1142">42.070967741935476</cx:pt>
          <cx:pt idx="1143">42.166774193548392</cx:pt>
          <cx:pt idx="1144">42.163225806451621</cx:pt>
          <cx:pt idx="1145">42.127419354838715</cx:pt>
          <cx:pt idx="1146">42.071290322580637</cx:pt>
          <cx:pt idx="1147">42.020645161290332</cx:pt>
          <cx:pt idx="1148">41.922258064516136</cx:pt>
          <cx:pt idx="1149">42.007096774193549</cx:pt>
          <cx:pt idx="1150">42.073870967741939</cx:pt>
          <cx:pt idx="1151">42.073548387096764</cx:pt>
          <cx:pt idx="1152">42.011612903225803</cx:pt>
          <cx:pt idx="1153">41.897419354838703</cx:pt>
          <cx:pt idx="1154">41.799999999999983</cx:pt>
          <cx:pt idx="1155">41.839677419354828</cx:pt>
          <cx:pt idx="1156">41.866774193548373</cx:pt>
          <cx:pt idx="1157">41.829999999999991</cx:pt>
          <cx:pt idx="1158">41.895161290322584</cx:pt>
          <cx:pt idx="1159">41.906774193548394</cx:pt>
          <cx:pt idx="1160">41.920000000000002</cx:pt>
          <cx:pt idx="1161">41.962580645161289</cx:pt>
          <cx:pt idx="1162">41.909032258064521</cx:pt>
          <cx:pt idx="1163">42.005161290322583</cx:pt>
          <cx:pt idx="1164">42.093548387096774</cx:pt>
          <cx:pt idx="1165">42.029354838709679</cx:pt>
          <cx:pt idx="1166">42.068387096774195</cx:pt>
          <cx:pt idx="1167">42.039354838709684</cx:pt>
          <cx:pt idx="1168">41.965161290322584</cx:pt>
          <cx:pt idx="1169">41.892580645161296</cx:pt>
          <cx:pt idx="1170">41.983548387096775</cx:pt>
          <cx:pt idx="1171">42.000967741935483</cx:pt>
          <cx:pt idx="1172">42.005161290322576</cx:pt>
          <cx:pt idx="1173">41.962258064516128</cx:pt>
          <cx:pt idx="1174">41.944838709677413</cx:pt>
          <cx:pt idx="1175">42.037741935483865</cx:pt>
          <cx:pt idx="1176">42.043870967741931</cx:pt>
          <cx:pt idx="1177">41.995161290322578</cx:pt>
          <cx:pt idx="1178">42.090322580645157</cx:pt>
          <cx:pt idx="1179">42.085161290322574</cx:pt>
          <cx:pt idx="1180">42.085806451612903</cx:pt>
          <cx:pt idx="1181">42.022903225806452</cx:pt>
          <cx:pt idx="1182">42.082258064516125</cx:pt>
          <cx:pt idx="1183">42.040967741935475</cx:pt>
          <cx:pt idx="1184">42.138064516129035</cx:pt>
          <cx:pt idx="1185">42.149032258064523</cx:pt>
          <cx:pt idx="1186">42.073225806451617</cx:pt>
          <cx:pt idx="1187">42.080645161290327</cx:pt>
          <cx:pt idx="1188">42.082903225806454</cx:pt>
          <cx:pt idx="1189">42.044193548387099</cx:pt>
          <cx:pt idx="1190">42.102258064516128</cx:pt>
          <cx:pt idx="1191">42.056774193548378</cx:pt>
          <cx:pt idx="1192">42.058709677419351</cx:pt>
          <cx:pt idx="1193">42.132580645161276</cx:pt>
          <cx:pt idx="1194">42.088387096774191</cx:pt>
          <cx:pt idx="1195">42.074838709677415</cx:pt>
          <cx:pt idx="1196">42.165161290322587</cx:pt>
          <cx:pt idx="1197">42.070645161290315</cx:pt>
          <cx:pt idx="1198">42.073548387096771</cx:pt>
          <cx:pt idx="1199">42.16516129032258</cx:pt>
          <cx:pt idx="1200">42.226451612903226</cx:pt>
          <cx:pt idx="1201">42.192580645161293</cx:pt>
          <cx:pt idx="1202">42.119677419354851</cx:pt>
          <cx:pt idx="1203">42.13000000000001</cx:pt>
          <cx:pt idx="1204">42.116451612903241</cx:pt>
          <cx:pt idx="1205">42.130967741935493</cx:pt>
          <cx:pt idx="1206">42.127096774193539</cx:pt>
          <cx:pt idx="1207">42.079999999999991</cx:pt>
          <cx:pt idx="1208">42.133548387096781</cx:pt>
          <cx:pt idx="1209">42.044193548387099</cx:pt>
          <cx:pt idx="1210">42.134838709677425</cx:pt>
          <cx:pt idx="1211">42.110322580645153</cx:pt>
          <cx:pt idx="1212">42.15032258064516</cx:pt>
          <cx:pt idx="1213">42.129999999999988</cx:pt>
          <cx:pt idx="1214">42.155161290322575</cx:pt>
          <cx:pt idx="1215">42.110645161290314</cx:pt>
          <cx:pt idx="1216">42.101290322580645</cx:pt>
          <cx:pt idx="1217">42.138064516129035</cx:pt>
          <cx:pt idx="1218">42.035161290322577</cx:pt>
          <cx:pt idx="1219">42.111612903225804</cx:pt>
          <cx:pt idx="1220">42.103225806451604</cx:pt>
          <cx:pt idx="1221">42.029999999999994</cx:pt>
          <cx:pt idx="1222">42.07322580645161</cx:pt>
          <cx:pt idx="1223">42.004838709677415</cx:pt>
          <cx:pt idx="1224">41.934838709677422</cx:pt>
          <cx:pt idx="1225">41.887419354838705</cx:pt>
          <cx:pt idx="1226">41.908387096774199</cx:pt>
          <cx:pt idx="1227">41.904193548387099</cx:pt>
          <cx:pt idx="1228">41.924838709677417</cx:pt>
          <cx:pt idx="1229">41.930967741935483</cx:pt>
          <cx:pt idx="1230">41.853225806451611</cx:pt>
          <cx:pt idx="1231">41.873225806451607</cx:pt>
          <cx:pt idx="1232">41.849677419354826</cx:pt>
          <cx:pt idx="1233">41.963548387096772</cx:pt>
          <cx:pt idx="1234">41.970322580645146</cx:pt>
          <cx:pt idx="1235">42.035806451612892</cx:pt>
          <cx:pt idx="1236">42.073225806451603</cx:pt>
          <cx:pt idx="1237">42.072903225806442</cx:pt>
          <cx:pt idx="1238">42.194838709677413</cx:pt>
          <cx:pt idx="1239">42.185483870967737</cx:pt>
          <cx:pt idx="1240">42.247741935483866</cx:pt>
          <cx:pt idx="1241">42.278064516129028</cx:pt>
          <cx:pt idx="1242">42.343548387096767</cx:pt>
          <cx:pt idx="1243">42.339354838709674</cx:pt>
          <cx:pt idx="1244">42.434516129032261</cx:pt>
          <cx:pt idx="1245">42.492258064516122</cx:pt>
          <cx:pt idx="1246">42.528387096774196</cx:pt>
          <cx:pt idx="1247">42.643870967741933</cx:pt>
          <cx:pt idx="1248">42.720000000000006</cx:pt>
          <cx:pt idx="1249">42.864838709677421</cx:pt>
          <cx:pt idx="1250">42.930322580645161</cx:pt>
          <cx:pt idx="1251">42.959032258064518</cx:pt>
          <cx:pt idx="1252">43.016774193548393</cx:pt>
          <cx:pt idx="1253">43.070000000000007</cx:pt>
          <cx:pt idx="1254">43.095161290322586</cx:pt>
          <cx:pt idx="1255">43.158064516129045</cx:pt>
          <cx:pt idx="1256">43.278709677419364</cx:pt>
          <cx:pt idx="1257">43.315161290322578</cx:pt>
          <cx:pt idx="1258">43.282580645161289</cx:pt>
          <cx:pt idx="1259">43.376451612903239</cx:pt>
          <cx:pt idx="1260">43.437096774193556</cx:pt>
          <cx:pt idx="1261">43.555483870967741</cx:pt>
          <cx:pt idx="1262">43.543870967741931</cx:pt>
          <cx:pt idx="1263">43.570645161290322</cx:pt>
          <cx:pt idx="1264">43.566129032258061</cx:pt>
          <cx:pt idx="1265">43.61935483870969</cx:pt>
          <cx:pt idx="1266">43.675806451612907</cx:pt>
          <cx:pt idx="1267">43.675806451612907</cx:pt>
          <cx:pt idx="1268">43.671612903225814</cx:pt>
          <cx:pt idx="1269">43.597741935483867</cx:pt>
          <cx:pt idx="1270">43.602580645161289</cx:pt>
          <cx:pt idx="1271">43.657741935483877</cx:pt>
          <cx:pt idx="1272">43.59548387096774</cx:pt>
          <cx:pt idx="1273">43.582580645161293</cx:pt>
          <cx:pt idx="1274">43.564516129032256</cx:pt>
          <cx:pt idx="1275">43.438064516129032</cx:pt>
          <cx:pt idx="1276">43.336774193548379</cx:pt>
          <cx:pt idx="1277">43.266129032258057</cx:pt>
          <cx:pt idx="1278">43.155161290322575</cx:pt>
          <cx:pt idx="1279">43.040967741935475</cx:pt>
          <cx:pt idx="1280">42.968709677419348</cx:pt>
          <cx:pt idx="1281">42.813870967741927</cx:pt>
          <cx:pt idx="1282">42.76709677419354</cx:pt>
          <cx:pt idx="1283">42.802258064516124</cx:pt>
          <cx:pt idx="1284">42.700967741935479</cx:pt>
          <cx:pt idx="1285">42.706451612903223</cx:pt>
          <cx:pt idx="1286">42.706774193548384</cx:pt>
          <cx:pt idx="1287">42.59967741935484</cx:pt>
          <cx:pt idx="1288">42.522903225806452</cx:pt>
          <cx:pt idx="1289">42.543870967741938</cx:pt>
          <cx:pt idx="1290">42.535806451612906</cx:pt>
          <cx:pt idx="1291">42.490645161290331</cx:pt>
          <cx:pt idx="1292">42.426774193548397</cx:pt>
          <cx:pt idx="1293">42.359677419354846</cx:pt>
          <cx:pt idx="1294">42.344193548387096</cx:pt>
          <cx:pt idx="1295">42.295483870967743</cx:pt>
          <cx:pt idx="1296">42.177096774193558</cx:pt>
          <cx:pt idx="1297">42.065161290322585</cx:pt>
          <cx:pt idx="1298">42.008709677419361</cx:pt>
          <cx:pt idx="1299">41.91096774193548</cx:pt>
          <cx:pt idx="1300">41.862903225806441</cx:pt>
          <cx:pt idx="1301">41.801612903225795</cx:pt>
          <cx:pt idx="1302">41.787419354838697</cx:pt>
          <cx:pt idx="1303">41.765161290322567</cx:pt>
          <cx:pt idx="1304">41.643548387096764</cx:pt>
          <cx:pt idx="1305">41.639354838709679</cx:pt>
          <cx:pt idx="1306">41.733225806451614</cx:pt>
          <cx:pt idx="1307">41.810322580645156</cx:pt>
          <cx:pt idx="1308">41.905161290322589</cx:pt>
          <cx:pt idx="1309">41.96806451612904</cx:pt>
          <cx:pt idx="1310">42.067419354838712</cx:pt>
          <cx:pt idx="1311">42.080645161290327</cx:pt>
          <cx:pt idx="1312">42.116774193548387</cx:pt>
          <cx:pt idx="1313">42.118387096774192</cx:pt>
          <cx:pt idx="1314">42.137741935483881</cx:pt>
          <cx:pt idx="1315">42.176129032258075</cx:pt>
          <cx:pt idx="1316">42.121290322580656</cx:pt>
          <cx:pt idx="1317">42.083548387096769</cx:pt>
          <cx:pt idx="1318">42.146451612903235</cx:pt>
          <cx:pt idx="1319">42.19161290322581</cx:pt>
          <cx:pt idx="1320">42.118387096774192</cx:pt>
          <cx:pt idx="1321">42.051612903225802</cx:pt>
          <cx:pt idx="1322">42.058064516129029</cx:pt>
          <cx:pt idx="1323">41.992903225806451</cx:pt>
          <cx:pt idx="1324">42.054516129032251</cx:pt>
          <cx:pt idx="1325">42.048064516129024</cx:pt>
          <cx:pt idx="1326">41.991935483870961</cx:pt>
          <cx:pt idx="1327">42.058387096774183</cx:pt>
          <cx:pt idx="1328">42.069677419354832</cx:pt>
          <cx:pt idx="1329">42.096451612903223</cx:pt>
          <cx:pt idx="1330">42.219032258064516</cx:pt>
          <cx:pt idx="1331">42.218709677419355</cx:pt>
          <cx:pt idx="1332">42.265483870967742</cx:pt>
          <cx:pt idx="1333">42.273870967741935</cx:pt>
          <cx:pt idx="1334">42.294193548387092</cx:pt>
          <cx:pt idx="1335">42.322580645161281</cx:pt>
          <cx:pt idx="1336">42.348387096774182</cx:pt>
          <cx:pt idx="1337">42.287741935483851</cx:pt>
          <cx:pt idx="1338">42.296451612903212</cx:pt>
          <cx:pt idx="1339">42.180967741935483</cx:pt>
          <cx:pt idx="1340">42.201935483870969</cx:pt>
          <cx:pt idx="1341">42.090967741935486</cx:pt>
          <cx:pt idx="1342">42.123225806451622</cx:pt>
          <cx:pt idx="1343">42.094838709677425</cx:pt>
          <cx:pt idx="1344">42.174193548387109</cx:pt>
          <cx:pt idx="1345">42.131612903225822</cx:pt>
          <cx:pt idx="1346">42.088387096774206</cx:pt>
          <cx:pt idx="1347">42.150645161290335</cx:pt>
          <cx:pt idx="1348">42.1309677419355</cx:pt>
          <cx:pt idx="1349">42.077419354838717</cx:pt>
          <cx:pt idx="1350">42.001612903225812</cx:pt>
          <cx:pt idx="1351">42.059677419354848</cx:pt>
          <cx:pt idx="1352">42.131612903225808</cx:pt>
          <cx:pt idx="1353">42.068387096774181</cx:pt>
          <cx:pt idx="1354">42.164193548387097</cx:pt>
          <cx:pt idx="1355">42.199677419354842</cx:pt>
          <cx:pt idx="1356">42.228709677419353</cx:pt>
          <cx:pt idx="1357">42.238387096774197</cx:pt>
          <cx:pt idx="1358">42.267096774193547</cx:pt>
          <cx:pt idx="1359">42.331290322580649</cx:pt>
          <cx:pt idx="1360">42.244838709677431</cx:pt>
          <cx:pt idx="1361">42.239032258064519</cx:pt>
          <cx:pt idx="1362">42.308064516129036</cx:pt>
          <cx:pt idx="1363">42.354193548387094</cx:pt>
          <cx:pt idx="1364">42.306129032258063</cx:pt>
          <cx:pt idx="1365">42.352258064516121</cx:pt>
          <cx:pt idx="1366">42.419032258064512</cx:pt>
          <cx:pt idx="1367">42.444516129032252</cx:pt>
          <cx:pt idx="1368">42.424193548387095</cx:pt>
          <cx:pt idx="1369">42.426451612903229</cx:pt>
          <cx:pt idx="1370">42.521290322580647</cx:pt>
          <cx:pt idx="1371">42.428064516129034</cx:pt>
          <cx:pt idx="1372">42.529032258064518</cx:pt>
          <cx:pt idx="1373">42.450000000000003</cx:pt>
          <cx:pt idx="1374">42.49258064516129</cx:pt>
          <cx:pt idx="1375">42.458064516129035</cx:pt>
          <cx:pt idx="1376">42.377741935483883</cx:pt>
          <cx:pt idx="1377">42.346774193548391</cx:pt>
          <cx:pt idx="1378">42.347741935483874</cx:pt>
          <cx:pt idx="1379">42.32096774193549</cx:pt>
          <cx:pt idx="1380">42.300000000000011</cx:pt>
          <cx:pt idx="1381">42.307096774193553</cx:pt>
          <cx:pt idx="1382">42.328709677419361</cx:pt>
          <cx:pt idx="1383">42.290967741935489</cx:pt>
          <cx:pt idx="1384">42.388387096774196</cx:pt>
          <cx:pt idx="1385">42.32</cx:pt>
          <cx:pt idx="1386">42.205161290322579</cx:pt>
          <cx:pt idx="1387">42.218709677419355</cx:pt>
          <cx:pt idx="1388">42.225161290322582</cx:pt>
          <cx:pt idx="1389">42.211612903225806</cx:pt>
          <cx:pt idx="1390">42.234838709677419</cx:pt>
          <cx:pt idx="1391">42.210000000000001</cx:pt>
          <cx:pt idx="1392">42.128709677419359</cx:pt>
          <cx:pt idx="1393">42.097419354838706</cx:pt>
          <cx:pt idx="1394">42.056774193548385</cx:pt>
          <cx:pt idx="1395">41.98193548387097</cx:pt>
          <cx:pt idx="1396">41.944516129032259</cx:pt>
          <cx:pt idx="1397">41.863870967741924</cx:pt>
          <cx:pt idx="1398">41.837741935483862</cx:pt>
          <cx:pt idx="1399">41.916451612903231</cx:pt>
          <cx:pt idx="1400">41.91935483870968</cx:pt>
          <cx:pt idx="1401">41.888064516129042</cx:pt>
          <cx:pt idx="1402">41.904193548387099</cx:pt>
          <cx:pt idx="1403">41.82741935483871</cx:pt>
          <cx:pt idx="1404">41.879677419354842</cx:pt>
          <cx:pt idx="1405">41.861612903225804</cx:pt>
          <cx:pt idx="1406">41.797096774193555</cx:pt>
          <cx:pt idx="1407">41.840645161290325</cx:pt>
          <cx:pt idx="1408">41.926774193548383</cx:pt>
          <cx:pt idx="1409">41.927096774193544</cx:pt>
          <cx:pt idx="1410">41.92258064516129</cx:pt>
          <cx:pt idx="1411">41.941612903225803</cx:pt>
          <cx:pt idx="1412">41.972258064516126</cx:pt>
          <cx:pt idx="1413">41.949677419354842</cx:pt>
          <cx:pt idx="1414">41.912903225806453</cx:pt>
          <cx:pt idx="1415">41.890000000000015</cx:pt>
          <cx:pt idx="1416">41.949677419354849</cx:pt>
          <cx:pt idx="1417">42.061935483870975</cx:pt>
          <cx:pt idx="1418">42.062258064516129</cx:pt>
          <cx:pt idx="1419">42.067741935483866</cx:pt>
          <cx:pt idx="1420">41.986774193548385</cx:pt>
          <cx:pt idx="1421">41.988709677419358</cx:pt>
          <cx:pt idx="1422">42.084838709677413</cx:pt>
          <cx:pt idx="1423">42.103870967741926</cx:pt>
          <cx:pt idx="1424">42.111290322580636</cx:pt>
          <cx:pt idx="1425">42.078709677419354</cx:pt>
          <cx:pt idx="1426">42.092580645161291</cx:pt>
          <cx:pt idx="1427">42.082580645161293</cx:pt>
          <cx:pt idx="1428">42.056451612903224</cx:pt>
          <cx:pt idx="1429">42.05709677419356</cx:pt>
          <cx:pt idx="1430">42.06032258064517</cx:pt>
          <cx:pt idx="1431">42.037419354838711</cx:pt>
          <cx:pt idx="1432">42.077741935483878</cx:pt>
          <cx:pt idx="1433">42.067741935483873</cx:pt>
          <cx:pt idx="1434">42.089354838709681</cx:pt>
          <cx:pt idx="1435">42.094516129032257</cx:pt>
          <cx:pt idx="1436">42.078064516129039</cx:pt>
          <cx:pt idx="1437">42.146129032258074</cx:pt>
          <cx:pt idx="1438">42.188709677419361</cx:pt>
          <cx:pt idx="1439">42.137741935483874</cx:pt>
          <cx:pt idx="1440">42.129999999999981</cx:pt>
          <cx:pt idx="1441">42.220645161290307</cx:pt>
          <cx:pt idx="1442">42.260967741935467</cx:pt>
          <cx:pt idx="1443">42.212258064516114</cx:pt>
          <cx:pt idx="1444">42.149032258064508</cx:pt>
          <cx:pt idx="1445">42.136129032258061</cx:pt>
          <cx:pt idx="1446">42.166774193548385</cx:pt>
          <cx:pt idx="1447">42.119999999999997</cx:pt>
          <cx:pt idx="1448">42.099032258064518</cx:pt>
          <cx:pt idx="1449">42.068387096774188</cx:pt>
          <cx:pt idx="1450">42.012580645161279</cx:pt>
          <cx:pt idx="1451">42.074193548387093</cx:pt>
          <cx:pt idx="1452">42.015161290322581</cx:pt>
          <cx:pt idx="1453">41.944516129032259</cx:pt>
          <cx:pt idx="1454">41.973870967741938</cx:pt>
          <cx:pt idx="1455">41.984516129032258</cx:pt>
          <cx:pt idx="1456">42.012903225806447</cx:pt>
          <cx:pt idx="1457">42.004516129032261</cx:pt>
          <cx:pt idx="1458">42.029032258064518</cx:pt>
          <cx:pt idx="1459">42.119677419354836</cx:pt>
          <cx:pt idx="1460">42.079999999999991</cx:pt>
          <cx:pt idx="1461">41.99483870967741</cx:pt>
          <cx:pt idx="1462">41.96935483870967</cx:pt>
          <cx:pt idx="1463">41.973870967741924</cx:pt>
          <cx:pt idx="1464">42.054193548387083</cx:pt>
          <cx:pt idx="1465">42.013225806451608</cx:pt>
          <cx:pt idx="1466">41.997096774193551</cx:pt>
          <cx:pt idx="1467">41.980000000000004</cx:pt>
          <cx:pt idx="1468">41.91290322580646</cx:pt>
          <cx:pt idx="1469">41.858387096774202</cx:pt>
          <cx:pt idx="1470">41.891612903225813</cx:pt>
          <cx:pt idx="1471">41.880645161290325</cx:pt>
          <cx:pt idx="1472">41.837096774193547</cx:pt>
          <cx:pt idx="1473">41.79032258064516</cx:pt>
          <cx:pt idx="1474">41.874838709677405</cx:pt>
          <cx:pt idx="1475">41.912258064516131</cx:pt>
          <cx:pt idx="1476">41.918064516129029</cx:pt>
          <cx:pt idx="1477">41.794516129032253</cx:pt>
          <cx:pt idx="1478">41.774838709677411</cx:pt>
          <cx:pt idx="1479">41.755806451612891</cx:pt>
          <cx:pt idx="1480">41.748387096774188</cx:pt>
          <cx:pt idx="1481">41.86258064516128</cx:pt>
          <cx:pt idx="1482">41.799999999999997</cx:pt>
          <cx:pt idx="1483">41.802580645161292</cx:pt>
          <cx:pt idx="1484">41.894193548387101</cx:pt>
          <cx:pt idx="1485">41.807419354838707</cx:pt>
          <cx:pt idx="1486">41.791612903225811</cx:pt>
          <cx:pt idx="1487">41.841935483870969</cx:pt>
          <cx:pt idx="1488">41.894193548387101</cx:pt>
          <cx:pt idx="1489">41.910000000000004</cx:pt>
          <cx:pt idx="1490">41.840967741935479</cx:pt>
          <cx:pt idx="1491">41.900645161290328</cx:pt>
          <cx:pt idx="1492">41.959032258064518</cx:pt>
          <cx:pt idx="1493">41.961935483870967</cx:pt>
          <cx:pt idx="1494">41.939032258064515</cx:pt>
          <cx:pt idx="1495">41.90774193548387</cx:pt>
          <cx:pt idx="1496">42.022258064516123</cx:pt>
          <cx:pt idx="1497">41.947419354838715</cx:pt>
          <cx:pt idx="1498">41.969032258064516</cx:pt>
          <cx:pt idx="1499">42.065483870967739</cx:pt>
          <cx:pt idx="1500">42.052258064516124</cx:pt>
          <cx:pt idx="1501">42.039677419354838</cx:pt>
          <cx:pt idx="1502">42.024838709677411</cx:pt>
          <cx:pt idx="1503">42.04677419354838</cx:pt>
          <cx:pt idx="1504">42.025161290322579</cx:pt>
          <cx:pt idx="1505">41.954193548387096</cx:pt>
          <cx:pt idx="1506">41.926451612903236</cx:pt>
          <cx:pt idx="1507">41.946774193548393</cx:pt>
          <cx:pt idx="1508">42.022903225806459</cx:pt>
          <cx:pt idx="1509">42.010967741935488</cx:pt>
          <cx:pt idx="1510">41.928387096774202</cx:pt>
          <cx:pt idx="1511">41.936451612903234</cx:pt>
          <cx:pt idx="1512">41.863870967741939</cx:pt>
          <cx:pt idx="1513">41.849032258064518</cx:pt>
          <cx:pt idx="1514">41.87419354838709</cx:pt>
          <cx:pt idx="1515">41.799677419354836</cx:pt>
          <cx:pt idx="1516">41.870645161290319</cx:pt>
          <cx:pt idx="1517">41.86032258064516</cx:pt>
          <cx:pt idx="1518">41.821290322580637</cx:pt>
          <cx:pt idx="1519">41.838064516129023</cx:pt>
          <cx:pt idx="1520">41.828709677419347</cx:pt>
          <cx:pt idx="1521">41.849677419354826</cx:pt>
          <cx:pt idx="1522">41.794193548387085</cx:pt>
          <cx:pt idx="1523">41.761612903225803</cx:pt>
          <cx:pt idx="1524">41.743870967741934</cx:pt>
          <cx:pt idx="1525">41.743225806451612</cx:pt>
          <cx:pt idx="1526">41.699677419354842</cx:pt>
          <cx:pt idx="1527">41.688064516129032</cx:pt>
          <cx:pt idx="1528">41.777741935483867</cx:pt>
          <cx:pt idx="1529">41.780322580645155</cx:pt>
          <cx:pt idx="1530">41.727419354838702</cx:pt>
          <cx:pt idx="1531">41.832258064516125</cx:pt>
          <cx:pt idx="1532">41.818387096774188</cx:pt>
          <cx:pt idx="1533">41.828387096774193</cx:pt>
          <cx:pt idx="1534">41.833870967741937</cx:pt>
          <cx:pt idx="1535">41.844516129032257</cx:pt>
          <cx:pt idx="1536">41.843548387096767</cx:pt>
          <cx:pt idx="1537">41.893225806451611</cx:pt>
          <cx:pt idx="1538">41.957419354838706</cx:pt>
          <cx:pt idx="1539">41.927419354838712</cx:pt>
          <cx:pt idx="1540">41.957419354838706</cx:pt>
          <cx:pt idx="1541">42</cx:pt>
          <cx:pt idx="1542">41.958709677419357</cx:pt>
          <cx:pt idx="1543">42.029032258064518</cx:pt>
          <cx:pt idx="1544">42.139032258064525</cx:pt>
          <cx:pt idx="1545">42.177096774193551</cx:pt>
          <cx:pt idx="1546">42.229032258064521</cx:pt>
          <cx:pt idx="1547">42.253225806451624</cx:pt>
          <cx:pt idx="1548">42.241612903225814</cx:pt>
          <cx:pt idx="1549">42.193548387096783</cx:pt>
          <cx:pt idx="1550">42.178709677419363</cx:pt>
          <cx:pt idx="1551">42.178064516129034</cx:pt>
          <cx:pt idx="1552">42.216774193548389</cx:pt>
          <cx:pt idx="1553">42.267096774193547</cx:pt>
          <cx:pt idx="1554">42.247096774193544</cx:pt>
          <cx:pt idx="1555">42.246774193548376</cx:pt>
          <cx:pt idx="1556">42.203870967741935</cx:pt>
          <cx:pt idx="1557">42.279677419354833</cx:pt>
          <cx:pt idx="1558">42.228709677419353</cx:pt>
          <cx:pt idx="1559">42.23838709677419</cx:pt>
          <cx:pt idx="1560">42.256129032258066</cx:pt>
          <cx:pt idx="1561">42.238064516129036</cx:pt>
          <cx:pt idx="1562">42.228064516129038</cx:pt>
          <cx:pt idx="1563">42.247096774193551</cx:pt>
          <cx:pt idx="1564">42.198064516129037</cx:pt>
          <cx:pt idx="1565">42.150000000000006</cx:pt>
          <cx:pt idx="1566">42.181612903225805</cx:pt>
          <cx:pt idx="1567">42.253870967741939</cx:pt>
          <cx:pt idx="1568">42.195161290322581</cx:pt>
          <cx:pt idx="1569">42.089032258064506</cx:pt>
          <cx:pt idx="1570">42.158064516129031</cx:pt>
          <cx:pt idx="1571">42.123870967741922</cx:pt>
          <cx:pt idx="1572">42.200000000000003</cx:pt>
          <cx:pt idx="1573">42.187741935483871</cx:pt>
          <cx:pt idx="1574">42.154193548387092</cx:pt>
          <cx:pt idx="1575">42.04580645161289</cx:pt>
          <cx:pt idx="1576">42.022903225806452</cx:pt>
          <cx:pt idx="1577">41.95967741935484</cx:pt>
          <cx:pt idx="1578">41.979999999999997</cx:pt>
          <cx:pt idx="1579">41.959354838709672</cx:pt>
          <cx:pt idx="1580">41.943548387096776</cx:pt>
          <cx:pt idx="1581">41.883870967741935</cx:pt>
          <cx:pt idx="1582">41.90870967741936</cx:pt>
          <cx:pt idx="1583">41.908064516129031</cx:pt>
          <cx:pt idx="1584">41.804516129032265</cx:pt>
          <cx:pt idx="1585">41.782258064516128</cx:pt>
          <cx:pt idx="1586">41.788064516129033</cx:pt>
          <cx:pt idx="1587">41.766129032258071</cx:pt>
          <cx:pt idx="1588">41.782258064516128</cx:pt>
          <cx:pt idx="1589">41.84129032258064</cx:pt>
          <cx:pt idx="1590">41.858064516129026</cx:pt>
          <cx:pt idx="1591">41.860645161290314</cx:pt>
          <cx:pt idx="1592">41.873870967741944</cx:pt>
          <cx:pt idx="1593">41.796129032258065</cx:pt>
          <cx:pt idx="1594">41.837741935483869</cx:pt>
          <cx:pt idx="1595">41.813548387096766</cx:pt>
          <cx:pt idx="1596">41.834193548387098</cx:pt>
          <cx:pt idx="1597">41.869999999999997</cx:pt>
          <cx:pt idx="1598">41.86677419354838</cx:pt>
          <cx:pt idx="1599">41.95225806451613</cx:pt>
          <cx:pt idx="1600">41.936129032258066</cx:pt>
          <cx:pt idx="1601">41.900322580645167</cx:pt>
          <cx:pt idx="1602">41.930645161290329</cx:pt>
          <cx:pt idx="1603">41.931935483870973</cx:pt>
          <cx:pt idx="1604">41.931290322580651</cx:pt>
          <cx:pt idx="1605">41.869032258064507</cx:pt>
          <cx:pt idx="1606">41.880322580645164</cx:pt>
          <cx:pt idx="1607">41.799999999999997</cx:pt>
          <cx:pt idx="1608">41.838709677419352</cx:pt>
          <cx:pt idx="1609">41.740322580645156</cx:pt>
          <cx:pt idx="1610">41.829354838709676</cx:pt>
          <cx:pt idx="1611">41.85032258064517</cx:pt>
          <cx:pt idx="1612">41.975483870967757</cx:pt>
          <cx:pt idx="1613">41.884516129032271</cx:pt>
          <cx:pt idx="1614">41.899354838709691</cx:pt>
          <cx:pt idx="1615">41.980322580645172</cx:pt>
          <cx:pt idx="1616">42.027096774193552</cx:pt>
          <cx:pt idx="1617">42.090645161290325</cx:pt>
          <cx:pt idx="1618">42.178064516129034</cx:pt>
          <cx:pt idx="1619">42.181935483870966</cx:pt>
          <cx:pt idx="1620">42.169354838709673</cx:pt>
          <cx:pt idx="1621">42.122580645161278</cx:pt>
          <cx:pt idx="1622">42.177741935483866</cx:pt>
          <cx:pt idx="1623">42.189354838709676</cx:pt>
          <cx:pt idx="1624">42.268709677419352</cx:pt>
          <cx:pt idx="1625">42.201935483870962</cx:pt>
          <cx:pt idx="1626">42.21290322580645</cx:pt>
          <cx:pt idx="1627">42.199677419354835</cx:pt>
          <cx:pt idx="1628">42.157419354838716</cx:pt>
          <cx:pt idx="1629">42.1225806451613</cx:pt>
          <cx:pt idx="1630">42.116451612903226</cx:pt>
          <cx:pt idx="1631">42.211612903225813</cx:pt>
          <cx:pt idx="1632">42.223548387096777</cx:pt>
          <cx:pt idx="1633">42.263870967741937</cx:pt>
          <cx:pt idx="1634">42.259677419354837</cx:pt>
          <cx:pt idx="1635">42.335806451612889</cx:pt>
          <cx:pt idx="1636">42.396451612903221</cx:pt>
          <cx:pt idx="1637">42.413548387096768</cx:pt>
          <cx:pt idx="1638">42.490967741935478</cx:pt>
          <cx:pt idx="1639">42.510322580645152</cx:pt>
          <cx:pt idx="1640">42.541935483870958</cx:pt>
          <cx:pt idx="1641">42.452903225806445</cx:pt>
          <cx:pt idx="1642">42.510322580645152</cx:pt>
          <cx:pt idx="1643">42.396451612903221</cx:pt>
          <cx:pt idx="1644">42.453225806451599</cx:pt>
          <cx:pt idx="1645">42.361290322580643</cx:pt>
          <cx:pt idx="1646">42.32</cx:pt>
          <cx:pt idx="1647">42.327741935483871</cx:pt>
          <cx:pt idx="1648">42.266451612903225</cx:pt>
          <cx:pt idx="1649">42.270000000000003</cx:pt>
          <cx:pt idx="1650">42.22870967741936</cx:pt>
          <cx:pt idx="1651">42.22870967741936</cx:pt>
          <cx:pt idx="1652">42.206129032258069</cx:pt>
          <cx:pt idx="1653">42.18935483870969</cx:pt>
          <cx:pt idx="1654">42.177419354838726</cx:pt>
          <cx:pt idx="1655">42.184838709677436</cx:pt>
          <cx:pt idx="1656">42.169032258064526</cx:pt>
          <cx:pt idx="1657">42.264193548387105</cx:pt>
          <cx:pt idx="1658">42.245161290322585</cx:pt>
          <cx:pt idx="1659">42.277096774193552</cx:pt>
          <cx:pt idx="1660">42.299677419354843</cx:pt>
          <cx:pt idx="1661">42.305806451612902</cx:pt>
          <cx:pt idx="1662">42.262258064516139</cx:pt>
          <cx:pt idx="1663">42.221935483870972</cx:pt>
          <cx:pt idx="1664">42.208064516129028</cx:pt>
          <cx:pt idx="1665">42.194516129032259</cx:pt>
          <cx:pt idx="1666">42.145161290322584</cx:pt>
          <cx:pt idx="1667">42.079354838709676</cx:pt>
          <cx:pt idx="1668">42.089354838709674</cx:pt>
          <cx:pt idx="1669">42.067741935483873</cx:pt>
          <cx:pt idx="1670">42.023870967741942</cx:pt>
          <cx:pt idx="1671">42.009032258064522</cx:pt>
          <cx:pt idx="1672">42.069677419354846</cx:pt>
          <cx:pt idx="1673">41.989032258064519</cx:pt>
          <cx:pt idx="1674">42.042580645161287</cx:pt>
          <cx:pt idx="1675">41.995161290322585</cx:pt>
          <cx:pt idx="1676">42.071935483870966</cx:pt>
          <cx:pt idx="1677">42.046451612903226</cx:pt>
          <cx:pt idx="1678">42.085806451612896</cx:pt>
          <cx:pt idx="1679">42.136774193548391</cx:pt>
          <cx:pt idx="1680">42.141612903225806</cx:pt>
          <cx:pt idx="1681">42.091612903225801</cx:pt>
          <cx:pt idx="1682">42.075483870967744</cx:pt>
          <cx:pt idx="1683">42.072258064516127</cx:pt>
          <cx:pt idx="1684">42.106451612903221</cx:pt>
          <cx:pt idx="1685">42.162903225806453</cx:pt>
          <cx:pt idx="1686">42.071935483870973</cx:pt>
          <cx:pt idx="1687">42.14806451612904</cx:pt>
          <cx:pt idx="1688">42.044838709677421</cx:pt>
          <cx:pt idx="1689">42.131612903225815</cx:pt>
          <cx:pt idx="1690">42.106451612903221</cx:pt>
          <cx:pt idx="1691">42.071935483870966</cx:pt>
          <cx:pt idx="1692">42.075483870967737</cx:pt>
          <cx:pt idx="1693">42.027741935483867</cx:pt>
          <cx:pt idx="1694">41.995806451612886</cx:pt>
          <cx:pt idx="1695">41.939999999999991</cx:pt>
          <cx:pt idx="1696">41.917096774193539</cx:pt>
          <cx:pt idx="1697">41.897096774193535</cx:pt>
          <cx:pt idx="1698">41.928709677419349</cx:pt>
          <cx:pt idx="1699">42.029999999999987</cx:pt>
          <cx:pt idx="1700">42.11258064516128</cx:pt>
          <cx:pt idx="1701">42.134516129032264</cx:pt>
          <cx:pt idx="1702">42.223225806451616</cx:pt>
          <cx:pt idx="1703">42.22870967741936</cx:pt>
          <cx:pt idx="1704">42.373225806451629</cx:pt>
          <cx:pt idx="1705">42.43096774193549</cx:pt>
          <cx:pt idx="1706">42.470967741935482</cx:pt>
          <cx:pt idx="1707">42.480645161290319</cx:pt>
          <cx:pt idx="1708">42.583225806451601</cx:pt>
          <cx:pt idx="1709">42.628387096774183</cx:pt>
          <cx:pt idx="1710">42.626129032258056</cx:pt>
          <cx:pt idx="1711">42.573548387096771</cx:pt>
          <cx:pt idx="1712">42.683225806451617</cx:pt>
          <cx:pt idx="1713">42.671612903225807</cx:pt>
          <cx:pt idx="1714">42.744193548387095</cx:pt>
          <cx:pt idx="1715">42.732258064516131</cx:pt>
          <cx:pt idx="1716">42.70000000000001</cx:pt>
          <cx:pt idx="1717">42.780322580645176</cx:pt>
          <cx:pt idx="1718">42.826129032258066</cx:pt>
          <cx:pt idx="1719">42.912580645161292</cx:pt>
          <cx:pt idx="1720">42.931935483870973</cx:pt>
          <cx:pt idx="1721">43.008064516129032</cx:pt>
          <cx:pt idx="1722">43.038709677419355</cx:pt>
          <cx:pt idx="1723">43.011612903225803</cx:pt>
          <cx:pt idx="1724">43.12903225806452</cx:pt>
          <cx:pt idx="1725">43.233548387096775</cx:pt>
          <cx:pt idx="1726">43.292903225806455</cx:pt>
          <cx:pt idx="1727">43.336774193548386</cx:pt>
          <cx:pt idx="1728">43.376129032258071</cx:pt>
          <cx:pt idx="1729">43.466129032258067</cx:pt>
          <cx:pt idx="1730">43.470000000000006</cx:pt>
          <cx:pt idx="1731">43.399032258064516</cx:pt>
          <cx:pt idx="1732">43.389354838709679</cx:pt>
          <cx:pt idx="1733">43.340967741935472</cx:pt>
          <cx:pt idx="1734">43.360967741935475</cx:pt>
          <cx:pt idx="1735">43.282903225806457</cx:pt>
          <cx:pt idx="1736">43.299999999999997</cx:pt>
          <cx:pt idx="1737">43.3158064516129</cx:pt>
          <cx:pt idx="1738">43.361935483870958</cx:pt>
          <cx:pt idx="1739">43.308064516129029</cx:pt>
          <cx:pt idx="1740">43.288064516129019</cx:pt>
          <cx:pt idx="1741">43.290645161290321</cx:pt>
          <cx:pt idx="1742">43.239354838709673</cx:pt>
          <cx:pt idx="1743">43.11354838709677</cx:pt>
          <cx:pt idx="1744">43.143548387096779</cx:pt>
          <cx:pt idx="1745">43.12903225806452</cx:pt>
          <cx:pt idx="1746">43.1274193548387</cx:pt>
          <cx:pt idx="1747">43.085161290322574</cx:pt>
          <cx:pt idx="1748">43.086129032258057</cx:pt>
          <cx:pt idx="1749">42.965161290322577</cx:pt>
          <cx:pt idx="1750">42.95129032258064</cx:pt>
          <cx:pt idx="1751">42.94161290322581</cx:pt>
          <cx:pt idx="1752">42.825806451612898</cx:pt>
          <cx:pt idx="1753">42.748387096774195</cx:pt>
          <cx:pt idx="1754">42.694838709677427</cx:pt>
          <cx:pt idx="1755">42.646451612903235</cx:pt>
          <cx:pt idx="1756">42.624193548387105</cx:pt>
          <cx:pt idx="1757">42.62354838709679</cx:pt>
          <cx:pt idx="1758">42.600322580645162</cx:pt>
          <cx:pt idx="1759">42.644193548387108</cx:pt>
          <cx:pt idx="1760">42.51580645161291</cx:pt>
          <cx:pt idx="1761">42.370322580645173</cx:pt>
          <cx:pt idx="1762">42.369999999999997</cx:pt>
          <cx:pt idx="1763">42.338064516129037</cx:pt>
          <cx:pt idx="1764">42.371290322580656</cx:pt>
          <cx:pt idx="1765">42.33903225806452</cx:pt>
          <cx:pt idx="1766">42.332903225806447</cx:pt>
          <cx:pt idx="1767">42.306451612903217</cx:pt>
          <cx:pt idx="1768">42.316129032258068</cx:pt>
          <cx:pt idx="1769">42.186451612903227</cx:pt>
          <cx:pt idx="1770">42.120322580645158</cx:pt>
          <cx:pt idx="1771">42.004838709677422</cx:pt>
          <cx:pt idx="1772">41.941612903225817</cx:pt>
          <cx:pt idx="1773">41.944193548387105</cx:pt>
          <cx:pt idx="1774">42.000322580645168</cx:pt>
          <cx:pt idx="1775">41.973225806451623</cx:pt>
          <cx:pt idx="1776">41.967419354838718</cx:pt>
          <cx:pt idx="1777">41.919677419354848</cx:pt>
          <cx:pt idx="1778">41.965161290322591</cx:pt>
          <cx:pt idx="1779">41.900967741935496</cx:pt>
          <cx:pt idx="1780">41.905161290322589</cx:pt>
          <cx:pt idx="1781">41.859677419354846</cx:pt>
          <cx:pt idx="1782">41.742903225806451</cx:pt>
          <cx:pt idx="1783">41.801290322580648</cx:pt>
          <cx:pt idx="1784">41.829999999999998</cx:pt>
          <cx:pt idx="1785">41.832580645161286</cx:pt>
          <cx:pt idx="1786">41.779032258064511</cx:pt>
          <cx:pt idx="1787">41.725483870967743</cx:pt>
          <cx:pt idx="1788">41.69064516129032</cx:pt>
          <cx:pt idx="1789">41.67677419354839</cx:pt>
          <cx:pt idx="1790">41.579032258064508</cx:pt>
          <cx:pt idx="1791">41.684516129032254</cx:pt>
          <cx:pt idx="1792">41.769032258064506</cx:pt>
          <cx:pt idx="1793">41.786774193548375</cx:pt>
          <cx:pt idx="1794">41.828387096774186</cx:pt>
          <cx:pt idx="1795">41.738709677419351</cx:pt>
          <cx:pt idx="1796">41.739032258064512</cx:pt>
          <cx:pt idx="1797">41.749354838709678</cx:pt>
          <cx:pt idx="1798">41.709032258064518</cx:pt>
          <cx:pt idx="1799">41.628064516129022</cx:pt>
          <cx:pt idx="1800">41.621290322580634</cx:pt>
          <cx:pt idx="1801">41.680967741935483</cx:pt>
          <cx:pt idx="1802">41.693225806451608</cx:pt>
          <cx:pt idx="1803">41.790967741935482</cx:pt>
          <cx:pt idx="1804">41.876451612903217</cx:pt>
          <cx:pt idx="1805">41.888064516129027</cx:pt>
          <cx:pt idx="1806">41.875161290322588</cx:pt>
          <cx:pt idx="1807">41.90129032258065</cx:pt>
          <cx:pt idx="1808">41.880645161290325</cx:pt>
          <cx:pt idx="1809">41.828064516129032</cx:pt>
          <cx:pt idx="1810">41.777419354838706</cx:pt>
          <cx:pt idx="1811">41.766451612903218</cx:pt>
          <cx:pt idx="1812">41.737741935483875</cx:pt>
          <cx:pt idx="1813">41.779032258064511</cx:pt>
          <cx:pt idx="1814">41.804838709677419</cx:pt>
          <cx:pt idx="1815">41.852258064516121</cx:pt>
          <cx:pt idx="1816">41.818709677419349</cx:pt>
          <cx:pt idx="1817">41.849032258064518</cx:pt>
          <cx:pt idx="1818">41.929354838709685</cx:pt>
          <cx:pt idx="1819">42.013225806451622</cx:pt>
          <cx:pt idx="1820">41.970000000000006</cx:pt>
          <cx:pt idx="1821">42.045161290322582</cx:pt>
          <cx:pt idx="1822">42.037741935483872</cx:pt>
          <cx:pt idx="1823">42.007741935483871</cx:pt>
          <cx:pt idx="1824">41.91516129032258</cx:pt>
          <cx:pt idx="1825">41.888709677419357</cx:pt>
          <cx:pt idx="1826">41.911935483870963</cx:pt>
          <cx:pt idx="1827">41.903870967741931</cx:pt>
          <cx:pt idx="1828">41.829999999999991</cx:pt>
          <cx:pt idx="1829">41.865161290322561</cx:pt>
          <cx:pt idx="1830">41.848387096774175</cx:pt>
          <cx:pt idx="1831">41.908064516129016</cx:pt>
          <cx:pt idx="1832">41.851290322580631</cx:pt>
          <cx:pt idx="1833">41.884516129032242</cx:pt>
          <cx:pt idx="1834">41.766774193548372</cx:pt>
          <cx:pt idx="1835">41.686774193548381</cx:pt>
          <cx:pt idx="1836">41.620645161290312</cx:pt>
          <cx:pt idx="1837">41.633548387096774</cx:pt>
          <cx:pt idx="1838">41.514193548387084</cx:pt>
          <cx:pt idx="1839">41.478387096774199</cx:pt>
          <cx:pt idx="1840">41.45645161290323</cx:pt>
          <cx:pt idx="1841">41.51354838709679</cx:pt>
          <cx:pt idx="1842">41.518064516129044</cx:pt>
          <cx:pt idx="1843">41.578064516129039</cx:pt>
          <cx:pt idx="1844">41.587419354838723</cx:pt>
          <cx:pt idx="1845">41.570645161290329</cx:pt>
          <cx:pt idx="1846">41.608387096774202</cx:pt>
          <cx:pt idx="1847">41.700322580645171</cx:pt>
          <cx:pt idx="1848">41.647096774193557</cx:pt>
          <cx:pt idx="1849">41.572903225806456</cx:pt>
          <cx:pt idx="1850">41.55935483870968</cx:pt>
          <cx:pt idx="1851">41.59548387096774</cx:pt>
          <cx:pt idx="1852">41.544516129032253</cx:pt>
          <cx:pt idx="1853">41.469677419354838</cx:pt>
          <cx:pt idx="1854">41.470967741935489</cx:pt>
          <cx:pt idx="1855">41.491290322580639</cx:pt>
          <cx:pt idx="1856">41.447419354838708</cx:pt>
          <cx:pt idx="1857">41.516774193548386</cx:pt>
          <cx:pt idx="1858">41.525806451612901</cx:pt>
          <cx:pt idx="1859">41.617096774193548</cx:pt>
          <cx:pt idx="1860">41.528064516129028</cx:pt>
          <cx:pt idx="1861">41.57322580645161</cx:pt>
          <cx:pt idx="1862">41.604516129032255</cx:pt>
          <cx:pt idx="1863">41.712258064516128</cx:pt>
          <cx:pt idx="1864">41.69161290322581</cx:pt>
          <cx:pt idx="1865">41.73516129032258</cx:pt>
          <cx:pt idx="1866">41.789354838709677</cx:pt>
          <cx:pt idx="1867">41.776774193548391</cx:pt>
          <cx:pt idx="1868">41.799354838709682</cx:pt>
          <cx:pt idx="1869">41.908064516129045</cx:pt>
          <cx:pt idx="1870">41.988064516129036</cx:pt>
          <cx:pt idx="1871">42.061290322580646</cx:pt>
          <cx:pt idx="1872">42.078709677419354</cx:pt>
          <cx:pt idx="1873">42.163870967741943</cx:pt>
          <cx:pt idx="1874">42.179354838709692</cx:pt>
          <cx:pt idx="1875">42.159032258064528</cx:pt>
          <cx:pt idx="1876">42.175806451612914</cx:pt>
          <cx:pt idx="1877">42.121612903225817</cx:pt>
          <cx:pt idx="1878">42.120645161290319</cx:pt>
          <cx:pt idx="1879">42.180322580645161</cx:pt>
          <cx:pt idx="1880">42.152903225806448</cx:pt>
          <cx:pt idx="1881">42.07225806451612</cx:pt>
          <cx:pt idx="1882">42.029032258064504</cx:pt>
          <cx:pt idx="1883">42.018387096774184</cx:pt>
          <cx:pt idx="1884">42.017096774193547</cx:pt>
          <cx:pt idx="1885">42.020322580645157</cx:pt>
          <cx:pt idx="1886">41.999677419354839</cx:pt>
          <cx:pt idx="1887">42.079677419354837</cx:pt>
          <cx:pt idx="1888">42.044193548387092</cx:pt>
          <cx:pt idx="1889">42.062903225806451</cx:pt>
          <cx:pt idx="1890">42.123225806451607</cx:pt>
          <cx:pt idx="1891">42.25741935483871</cx:pt>
          <cx:pt idx="1892">42.353870967741933</cx:pt>
          <cx:pt idx="1893">42.373225806451622</cx:pt>
          <cx:pt idx="1894">42.395483870967752</cx:pt>
          <cx:pt idx="1895">42.459032258064525</cx:pt>
          <cx:pt idx="1896">42.550322580645165</cx:pt>
          <cx:pt idx="1897">42.599354838709672</cx:pt>
          <cx:pt idx="1898">42.673225806451619</cx:pt>
          <cx:pt idx="1899">42.667096774193553</cx:pt>
          <cx:pt idx="1900">42.686129032258073</cx:pt>
          <cx:pt idx="1901">42.735483870967748</cx:pt>
          <cx:pt idx="1902">42.799032258064528</cx:pt>
          <cx:pt idx="1903">42.825483870967751</cx:pt>
          <cx:pt idx="1904">42.807096774193553</cx:pt>
          <cx:pt idx="1905">42.816451612903229</cx:pt>
          <cx:pt idx="1906">42.885483870967754</cx:pt>
          <cx:pt idx="1907">42.933870967741939</cx:pt>
          <cx:pt idx="1908">43.033225806451611</cx:pt>
          <cx:pt idx="1909">43.067419354838712</cx:pt>
          <cx:pt idx="1910">43.131290322580647</cx:pt>
          <cx:pt idx="1911">43.254516129032261</cx:pt>
          <cx:pt idx="1912">43.370000000000012</cx:pt>
          <cx:pt idx="1913">43.406129032258065</cx:pt>
          <cx:pt idx="1914">43.52548387096774</cx:pt>
          <cx:pt idx="1915">43.643548387096772</cx:pt>
          <cx:pt idx="1916">43.744516129032256</cx:pt>
          <cx:pt idx="1917">43.82225806451612</cx:pt>
          <cx:pt idx="1918">43.824838709677408</cx:pt>
          <cx:pt idx="1919">43.849677419354826</cx:pt>
          <cx:pt idx="1920">43.897096774193543</cx:pt>
          <cx:pt idx="1921">43.828064516129011</cx:pt>
          <cx:pt idx="1922">43.816129032258054</cx:pt>
          <cx:pt idx="1923">43.736129032258056</cx:pt>
          <cx:pt idx="1924">43.698064516129023</cx:pt>
          <cx:pt idx="1925">43.66193548387097</cx:pt>
          <cx:pt idx="1926">43.649354838709677</cx:pt>
          <cx:pt idx="1927">43.612258064516126</cx:pt>
          <cx:pt idx="1928">43.575161290322583</cx:pt>
          <cx:pt idx="1929">43.650322580645167</cx:pt>
          <cx:pt idx="1930">43.566129032258061</cx:pt>
          <cx:pt idx="1931">43.49258064516129</cx:pt>
          <cx:pt idx="1932">43.403870967741938</cx:pt>
          <cx:pt idx="1933">43.367419354838702</cx:pt>
          <cx:pt idx="1934">43.264516129032252</cx:pt>
          <cx:pt idx="1935">43.279354838709672</cx:pt>
          <cx:pt idx="1936">43.250322580645154</cx:pt>
          <cx:pt idx="1937">43.18</cx:pt>
          <cx:pt idx="1938">43.049354838709668</cx:pt>
          <cx:pt idx="1939">42.935161290322576</cx:pt>
          <cx:pt idx="1940">42.858387096774187</cx:pt>
          <cx:pt idx="1941">42.814516129032256</cx:pt>
          <cx:pt idx="1942">42.787741935483865</cx:pt>
          <cx:pt idx="1943">42.654838709677421</cx:pt>
          <cx:pt idx="1944">42.660967741935487</cx:pt>
          <cx:pt idx="1945">42.583225806451608</cx:pt>
          <cx:pt idx="1946">42.511290322580635</cx:pt>
          <cx:pt idx="1947">42.365806451612897</cx:pt>
          <cx:pt idx="1948">42.292580645161287</cx:pt>
          <cx:pt idx="1949">42.214838709677416</cx:pt>
          <cx:pt idx="1950">42.237096774193539</cx:pt>
          <cx:pt idx="1951">42.16838709677419</cx:pt>
          <cx:pt idx="1952">42.180645161290315</cx:pt>
          <cx:pt idx="1953">42.053870967741929</cx:pt>
          <cx:pt idx="1954">42.015483870967742</cx:pt>
          <cx:pt idx="1955">42.049354838709675</cx:pt>
          <cx:pt idx="1956">42.01483870967742</cx:pt>
          <cx:pt idx="1957">42.052580645161285</cx:pt>
          <cx:pt idx="1958">42.027096774193545</cx:pt>
          <cx:pt idx="1959">42.012580645161286</cx:pt>
          <cx:pt idx="1960">41.968709677419355</cx:pt>
          <cx:pt idx="1961">41.974193548387099</cx:pt>
          <cx:pt idx="1962">41.932258064516141</cx:pt>
          <cx:pt idx="1963">41.944193548387112</cx:pt>
          <cx:pt idx="1964">41.919354838709694</cx:pt>
          <cx:pt idx="1965">41.918387096774211</cx:pt>
          <cx:pt idx="1966">41.915483870967755</cx:pt>
          <cx:pt idx="1967">41.870645161290334</cx:pt>
          <cx:pt idx="1968">41.957096774193559</cx:pt>
          <cx:pt idx="1969">41.997096774193558</cx:pt>
          <cx:pt idx="1970">42.025161290322593</cx:pt>
          <cx:pt idx="1971">41.980967741935494</cx:pt>
          <cx:pt idx="1972">41.924193548387109</cx:pt>
          <cx:pt idx="1973">41.808709677419358</cx:pt>
          <cx:pt idx="1974">41.859354838709677</cx:pt>
          <cx:pt idx="1975">41.802580645161285</cx:pt>
          <cx:pt idx="1976">41.751935483870966</cx:pt>
          <cx:pt idx="1977">41.733225806451614</cx:pt>
          <cx:pt idx="1978">41.765161290322574</cx:pt>
          <cx:pt idx="1979">41.838387096774184</cx:pt>
          <cx:pt idx="1980">41.879354838709681</cx:pt>
          <cx:pt idx="1981">41.809999999999995</cx:pt>
          <cx:pt idx="1982">41.801612903225802</cx:pt>
          <cx:pt idx="1983">41.780322580645162</cx:pt>
          <cx:pt idx="1984">41.886129032258061</cx:pt>
          <cx:pt idx="1985">41.959999999999994</cx:pt>
          <cx:pt idx="1986">41.88064516129031</cx:pt>
          <cx:pt idx="1987">41.849677419354826</cx:pt>
          <cx:pt idx="1988">41.835483870967721</cx:pt>
          <cx:pt idx="1989">41.848387096774175</cx:pt>
          <cx:pt idx="1990">41.821935483870952</cx:pt>
          <cx:pt idx="1991">41.814838709677403</cx:pt>
          <cx:pt idx="1992">41.804516129032251</cx:pt>
          <cx:pt idx="1993">41.787419354838704</cx:pt>
          <cx:pt idx="1994">41.809677419354841</cx:pt>
          <cx:pt idx="1995">41.759999999999998</cx:pt>
          <cx:pt idx="1996">41.763548387096776</cx:pt>
          <cx:pt idx="1997">41.678709677419363</cx:pt>
          <cx:pt idx="1998">41.682903225806456</cx:pt>
          <cx:pt idx="1999">41.605161290322577</cx:pt>
          <cx:pt idx="2000">41.565161290322578</cx:pt>
          <cx:pt idx="2001">41.57741935483871</cx:pt>
          <cx:pt idx="2002">41.587419354838708</cx:pt>
          <cx:pt idx="2003">41.686774193548395</cx:pt>
          <cx:pt idx="2004">41.703870967741942</cx:pt>
          <cx:pt idx="2005">41.721935483870972</cx:pt>
          <cx:pt idx="2006">41.746451612903229</cx:pt>
          <cx:pt idx="2007">41.732903225806453</cx:pt>
          <cx:pt idx="2008">41.706129032258069</cx:pt>
          <cx:pt idx="2009">41.722258064516133</cx:pt>
          <cx:pt idx="2010">41.694516129032266</cx:pt>
          <cx:pt idx="2011">41.648709677419362</cx:pt>
          <cx:pt idx="2012">41.644516129032262</cx:pt>
          <cx:pt idx="2013">41.604193548387094</cx:pt>
          <cx:pt idx="2014">41.542580645161294</cx:pt>
          <cx:pt idx="2015">41.481612903225802</cx:pt>
          <cx:pt idx="2016">41.48516129032258</cx:pt>
          <cx:pt idx="2017">41.460322580645162</cx:pt>
          <cx:pt idx="2018">41.48419354838709</cx:pt>
          <cx:pt idx="2019">41.439032258064515</cx:pt>
          <cx:pt idx="2020">41.354193548387087</cx:pt>
          <cx:pt idx="2021">41.415806451612902</cx:pt>
          <cx:pt idx="2022">41.387096774193544</cx:pt>
          <cx:pt idx="2023">41.464838709677416</cx:pt>
          <cx:pt idx="2024">41.566451612903222</cx:pt>
          <cx:pt idx="2025">41.559677419354834</cx:pt>
          <cx:pt idx="2026">41.57322580645161</cx:pt>
          <cx:pt idx="2027">41.633548387096774</cx:pt>
          <cx:pt idx="2028">41.610645161290321</cx:pt>
          <cx:pt idx="2029">41.664838709677419</cx:pt>
          <cx:pt idx="2030">41.744193548387102</cx:pt>
          <cx:pt idx="2031">41.747741935483873</cx:pt>
          <cx:pt idx="2032">41.730322580645165</cx:pt>
          <cx:pt idx="2033">41.781935483870967</cx:pt>
          <cx:pt idx="2034">41.752258064516127</cx:pt>
          <cx:pt idx="2035">41.768709677419359</cx:pt>
          <cx:pt idx="2036">41.693225806451615</cx:pt>
          <cx:pt idx="2037">41.770322580645164</cx:pt>
          <cx:pt idx="2038">41.856774193548382</cx:pt>
          <cx:pt idx="2039">41.911612903225809</cx:pt>
          <cx:pt idx="2040">41.874838709677412</cx:pt>
          <cx:pt idx="2041">41.888064516129035</cx:pt>
          <cx:pt idx="2042">41.973548387096777</cx:pt>
          <cx:pt idx="2043">42.036129032258067</cx:pt>
          <cx:pt idx="2044">42.015161290322581</cx:pt>
          <cx:pt idx="2045">42.016451612903225</cx:pt>
          <cx:pt idx="2046">42.012258064516132</cx:pt>
          <cx:pt idx="2047">41.917096774193553</cx:pt>
          <cx:pt idx="2048">42.029677419354833</cx:pt>
          <cx:pt idx="2049">42.066451612903215</cx:pt>
          <cx:pt idx="2050">42.119354838709675</cx:pt>
          <cx:pt idx="2051">42.237096774193546</cx:pt>
          <cx:pt idx="2052">42.228387096774192</cx:pt>
          <cx:pt idx="2053">42.206129032258062</cx:pt>
          <cx:pt idx="2054">42.237419354838707</cx:pt>
          <cx:pt idx="2055">42.231290322580641</cx:pt>
          <cx:pt idx="2056">42.237096774193546</cx:pt>
          <cx:pt idx="2057">42.299032258064507</cx:pt>
          <cx:pt idx="2058">42.321612903225798</cx:pt>
          <cx:pt idx="2059">42.357096774193543</cx:pt>
          <cx:pt idx="2060">42.369677419354851</cx:pt>
          <cx:pt idx="2061">42.26580645161291</cx:pt>
          <cx:pt idx="2062">42.354838709677416</cx:pt>
          <cx:pt idx="2063">42.371935483870978</cx:pt>
          <cx:pt idx="2064">42.419032258064519</cx:pt>
          <cx:pt idx="2065">42.421612903225814</cx:pt>
          <cx:pt idx="2066">42.421290322580646</cx:pt>
          <cx:pt idx="2067">42.512258064516125</cx:pt>
          <cx:pt idx="2068">42.431612903225805</cx:pt>
          <cx:pt idx="2069">42.452903225806452</cx:pt>
          <cx:pt idx="2070">42.412580645161299</cx:pt>
          <cx:pt idx="2071">42.391612903225813</cx:pt>
          <cx:pt idx="2072">42.3767741935484</cx:pt>
          <cx:pt idx="2073">42.382258064516137</cx:pt>
          <cx:pt idx="2074">42.383548387096788</cx:pt>
          <cx:pt idx="2075">42.465161290322591</cx:pt>
          <cx:pt idx="2076">42.524516129032257</cx:pt>
          <cx:pt idx="2077">42.500322580645161</cx:pt>
          <cx:pt idx="2078">42.618064516129024</cx:pt>
          <cx:pt idx="2079">42.605806451612899</cx:pt>
          <cx:pt idx="2080">42.634838709677425</cx:pt>
          <cx:pt idx="2081">42.632580645161298</cx:pt>
          <cx:pt idx="2082">42.531935483870974</cx:pt>
          <cx:pt idx="2083">42.447096774193554</cx:pt>
          <cx:pt idx="2084">42.482258064516138</cx:pt>
          <cx:pt idx="2085">42.380000000000003</cx:pt>
          <cx:pt idx="2086">42.339354838709667</cx:pt>
          <cx:pt idx="2087">42.337419354838694</cx:pt>
          <cx:pt idx="2088">42.273870967741921</cx:pt>
          <cx:pt idx="2089">42.293548387096763</cx:pt>
          <cx:pt idx="2090">42.382903225806437</cx:pt>
          <cx:pt idx="2091">42.332580645161272</cx:pt>
          <cx:pt idx="2092">42.364838709677407</cx:pt>
          <cx:pt idx="2093">42.318709677419349</cx:pt>
          <cx:pt idx="2094">42.296451612903226</cx:pt>
          <cx:pt idx="2095">42.237741935483875</cx:pt>
          <cx:pt idx="2096">42.260000000000005</cx:pt>
          <cx:pt idx="2097">42.272258064516137</cx:pt>
          <cx:pt idx="2098">42.181290322580665</cx:pt>
          <cx:pt idx="2099">42.23709677419356</cx:pt>
          <cx:pt idx="2100">42.178709677419363</cx:pt>
          <cx:pt idx="2101">42.222580645161294</cx:pt>
          <cx:pt idx="2102">42.254838709677422</cx:pt>
          <cx:pt idx="2103">42.243225806451605</cx:pt>
          <cx:pt idx="2104">42.213225806451611</cx:pt>
          <cx:pt idx="2105">42.131612903225808</cx:pt>
          <cx:pt idx="2106">42.135806451612908</cx:pt>
          <cx:pt idx="2107">42.08806451612903</cx:pt>
          <cx:pt idx="2108">42.112580645161287</cx:pt>
          <cx:pt idx="2109">42.090967741935479</cx:pt>
          <cx:pt idx="2110">42.043225806451609</cx:pt>
          <cx:pt idx="2111">42.04032258064516</cx:pt>
          <cx:pt idx="2112">41.992903225806451</cx:pt>
          <cx:pt idx="2113">42.085806451612896</cx:pt>
          <cx:pt idx="2114">42.181612903225805</cx:pt>
          <cx:pt idx="2115">42.099354838709672</cx:pt>
          <cx:pt idx="2116">42.127096774193554</cx:pt>
          <cx:pt idx="2117">42.173870967741948</cx:pt>
          <cx:pt idx="2118">42.140967741935484</cx:pt>
          <cx:pt idx="2119">42.162258064516131</cx:pt>
          <cx:pt idx="2120">42.109999999999999</cx:pt>
          <cx:pt idx="2121">42.051290322580648</cx:pt>
          <cx:pt idx="2122">42.081290322580649</cx:pt>
          <cx:pt idx="2123">42.150967741935496</cx:pt>
          <cx:pt idx="2124">42.128387096774205</cx:pt>
          <cx:pt idx="2125">42.15000000000002</cx:pt>
          <cx:pt idx="2126">42.211935483870981</cx:pt>
          <cx:pt idx="2127">42.159032258064528</cx:pt>
          <cx:pt idx="2128">42.135161290322593</cx:pt>
          <cx:pt idx="2129">42.253548387096778</cx:pt>
          <cx:pt idx="2130">42.230645161290326</cx:pt>
          <cx:pt idx="2131">42.205161290322579</cx:pt>
          <cx:pt idx="2132">42.155806451612904</cx:pt>
          <cx:pt idx="2133">42.170645161290317</cx:pt>
          <cx:pt idx="2134">42.199032258064506</cx:pt>
          <cx:pt idx="2135">42.214516129032248</cx:pt>
          <cx:pt idx="2136">42.198387096774184</cx:pt>
          <cx:pt idx="2137">42.216774193548382</cx:pt>
          <cx:pt idx="2138">42.283870967741926</cx:pt>
          <cx:pt idx="2139">42.257741935483871</cx:pt>
          <cx:pt idx="2140">42.173225806451619</cx:pt>
          <cx:pt idx="2141">42.126774193548393</cx:pt>
          <cx:pt idx="2142">42.10709677419355</cx:pt>
          <cx:pt idx="2143">42.155483870967757</cx:pt>
          <cx:pt idx="2144">42.131612903225815</cx:pt>
          <cx:pt idx="2145">42.078387096774193</cx:pt>
          <cx:pt idx="2146">42.191290322580649</cx:pt>
          <cx:pt idx="2147">42.16387096774195</cx:pt>
          <cx:pt idx="2148">42.108387096774194</cx:pt>
          <cx:pt idx="2149">42.193548387096783</cx:pt>
          <cx:pt idx="2150">42.185161290322597</cx:pt>
          <cx:pt idx="2151">42.200322580645171</cx:pt>
          <cx:pt idx="2152">42.16290322580646</cx:pt>
          <cx:pt idx="2153">42.217741935483872</cx:pt>
          <cx:pt idx="2154">42.208709677419357</cx:pt>
          <cx:pt idx="2155">42.287741935483879</cx:pt>
          <cx:pt idx="2156">42.260645161290327</cx:pt>
          <cx:pt idx="2157">42.203870967741942</cx:pt>
          <cx:pt idx="2158">42.190322580645166</cx:pt>
          <cx:pt idx="2159">42.274838709677418</cx:pt>
          <cx:pt idx="2160">42.244838709677417</cx:pt>
          <cx:pt idx="2161">42.203870967741928</cx:pt>
          <cx:pt idx="2162">42.183870967741932</cx:pt>
          <cx:pt idx="2163">42.273548387096767</cx:pt>
          <cx:pt idx="2164">42.285806451612899</cx:pt>
          <cx:pt idx="2165">42.258064516129025</cx:pt>
          <cx:pt idx="2166">42.201935483870962</cx:pt>
          <cx:pt idx="2167">42.206129032258062</cx:pt>
          <cx:pt idx="2168">42.174516129032256</cx:pt>
          <cx:pt idx="2169">42.164838709677412</cx:pt>
          <cx:pt idx="2170">42.258064516129025</cx:pt>
          <cx:pt idx="2171">42.350645161290309</cx:pt>
          <cx:pt idx="2172">42.429677419354832</cx:pt>
          <cx:pt idx="2173">42.373870967741922</cx:pt>
          <cx:pt idx="2174">42.290967741935482</cx:pt>
          <cx:pt idx="2175">42.319354838709678</cx:pt>
          <cx:pt idx="2176">42.379354838709688</cx:pt>
          <cx:pt idx="2177">42.386129032258069</cx:pt>
          <cx:pt idx="2178">42.442903225806454</cx:pt>
          <cx:pt idx="2179">42.460000000000001</cx:pt>
          <cx:pt idx="2180">42.384516129032264</cx:pt>
          <cx:pt idx="2181">42.345161290322579</cx:pt>
          <cx:pt idx="2182">42.284516129032255</cx:pt>
          <cx:pt idx="2183">42.368064516129024</cx:pt>
          <cx:pt idx="2184">42.283870967741933</cx:pt>
          <cx:pt idx="2185">42.192580645161293</cx:pt>
          <cx:pt idx="2186">42.146451612903228</cx:pt>
          <cx:pt idx="2187">42.153548387096777</cx:pt>
          <cx:pt idx="2188">42.109999999999992</cx:pt>
          <cx:pt idx="2189">42.059354838709673</cx:pt>
          <cx:pt idx="2190">42.058064516129029</cx:pt>
          <cx:pt idx="2191">42.041290322580643</cx:pt>
          <cx:pt idx="2192">42.117419354838702</cx:pt>
          <cx:pt idx="2193">42.212903225806457</cx:pt>
          <cx:pt idx="2194">42.200645161290325</cx:pt>
          <cx:pt idx="2195">42.174516129032263</cx:pt>
          <cx:pt idx="2196">42.194193548387098</cx:pt>
          <cx:pt idx="2197">42.270967741935479</cx:pt>
          <cx:pt idx="2198">42.328387096774193</cx:pt>
          <cx:pt idx="2199">42.315806451612907</cx:pt>
          <cx:pt idx="2200">42.264516129032259</cx:pt>
          <cx:pt idx="2201">42.270322580645164</cx:pt>
          <cx:pt idx="2202">42.270645161290318</cx:pt>
          <cx:pt idx="2203">42.282258064516128</cx:pt>
          <cx:pt idx="2204">42.234838709677412</cx:pt>
          <cx:pt idx="2205">42.307096774193546</cx:pt>
          <cx:pt idx="2206">42.214193548387101</cx:pt>
          <cx:pt idx="2207">42.133225806451613</cx:pt>
          <cx:pt idx="2208">42.094838709677418</cx:pt>
          <cx:pt idx="2209">42.063870967741934</cx:pt>
          <cx:pt idx="2210">42.014516129032266</cx:pt>
          <cx:pt idx="2211">42.063225806451612</cx:pt>
          <cx:pt idx="2212">42.105483870967738</cx:pt>
          <cx:pt idx="2213">42.123225806451607</cx:pt>
          <cx:pt idx="2214">42.058709677419351</cx:pt>
          <cx:pt idx="2215">42.143870967741925</cx:pt>
          <cx:pt idx="2216">42.193548387096762</cx:pt>
          <cx:pt idx="2217">42.115483870967722</cx:pt>
          <cx:pt idx="2218">42.156774193548372</cx:pt>
          <cx:pt idx="2219">42.207741935483853</cx:pt>
          <cx:pt idx="2220">42.237741935483854</cx:pt>
          <cx:pt idx="2221">42.201935483870962</cx:pt>
          <cx:pt idx="2222">42.180322580645154</cx:pt>
          <cx:pt idx="2223">41.9258064516129</cx:pt>
          <cx:pt idx="2224">41.730967741935473</cx:pt>
          <cx:pt idx="2225">41.511290322580635</cx:pt>
          <cx:pt idx="2226">41.65354838709677</cx:pt>
          <cx:pt idx="2227">41.605483870967731</cx:pt>
          <cx:pt idx="2228">41.451612903225801</cx:pt>
          <cx:pt idx="2229">41.430645161290322</cx:pt>
          <cx:pt idx="2230">41.345161290322572</cx:pt>
          <cx:pt idx="2231">41.368064516129031</cx:pt>
          <cx:pt idx="2232">41.398387096774194</cx:pt>
          <cx:pt idx="2233">41.4258064516129</cx:pt>
          <cx:pt idx="2234">41.506129032258066</cx:pt>
          <cx:pt idx="2235">41.426129032258061</cx:pt>
          <cx:pt idx="2236">41.460000000000001</cx:pt>
          <cx:pt idx="2237">41.330967741935474</cx:pt>
          <cx:pt idx="2238">41.34451612903225</cx:pt>
          <cx:pt idx="2239">41.169999999999995</cx:pt>
          <cx:pt idx="2240">40.981290322580641</cx:pt>
          <cx:pt idx="2241">40.970645161290328</cx:pt>
          <cx:pt idx="2242">40.824838709677422</cx:pt>
          <cx:pt idx="2243">40.782903225806457</cx:pt>
          <cx:pt idx="2244">40.65129032258065</cx:pt>
          <cx:pt idx="2245">40.731612903225809</cx:pt>
          <cx:pt idx="2246">40.473225806451609</cx:pt>
          <cx:pt idx="2247">40.319354838709671</cx:pt>
          <cx:pt idx="2248">40.48096774193548</cx:pt>
          <cx:pt idx="2249">40.439032258064515</cx:pt>
          <cx:pt idx="2250">40.469354838709677</cx:pt>
          <cx:pt idx="2251">40.473225806451616</cx:pt>
          <cx:pt idx="2252">40.511935483870964</cx:pt>
          <cx:pt idx="2253">20.468709677419358</cx:pt>
          <cx:pt idx="2254">21.79451612903226</cx:pt>
          <cx:pt idx="2255">23.162903225806453</cx:pt>
          <cx:pt idx="2256">24.495161290322581</cx:pt>
          <cx:pt idx="2257">25.825483870967744</cx:pt>
          <cx:pt idx="2258">27.183548387096774</cx:pt>
          <cx:pt idx="2259">28.497419354838712</cx:pt>
          <cx:pt idx="2260">29.837741935483873</cx:pt>
          <cx:pt idx="2261">31.203225806451616</cx:pt>
          <cx:pt idx="2262">32.588387096774191</cx:pt>
          <cx:pt idx="2263">33.889032258064518</cx:pt>
          <cx:pt idx="2264">35.196774193548386</cx:pt>
          <cx:pt idx="2265">36.489999999999995</cx:pt>
          <cx:pt idx="2266">37.823225806451603</cx:pt>
          <cx:pt idx="2267">39.203548387096767</cx:pt>
          <cx:pt idx="2268">40.581935483870957</cx:pt>
          <cx:pt idx="2269">41.951935483870962</cx:pt>
          <cx:pt idx="2270">41.951612903225808</cx:pt>
          <cx:pt idx="2271">41.89290322580645</cx:pt>
          <cx:pt idx="2272">41.876129032258056</cx:pt>
          <cx:pt idx="2273">41.894516129032262</cx:pt>
          <cx:pt idx="2274">41.908709677419353</cx:pt>
          <cx:pt idx="2275">42.003870967741932</cx:pt>
          <cx:pt idx="2276">41.967419354838718</cx:pt>
          <cx:pt idx="2277">42.052580645161292</cx:pt>
          <cx:pt idx="2278">42.129354838709695</cx:pt>
          <cx:pt idx="2279">42.15548387096775</cx:pt>
          <cx:pt idx="2280">42.189354838709683</cx:pt>
          <cx:pt idx="2281">42.170000000000009</cx:pt>
          <cx:pt idx="2282">42.100645161290331</cx:pt>
          <cx:pt idx="2283">42.013870967741944</cx:pt>
          <cx:pt idx="2284">41.98612903225807</cx:pt>
          <cx:pt idx="2285">41.981290322580648</cx:pt>
          <cx:pt idx="2286">42.026129032258069</cx:pt>
          <cx:pt idx="2287">41.989354838709687</cx:pt>
          <cx:pt idx="2288">41.956129032258076</cx:pt>
          <cx:pt idx="2289">41.952903225806459</cx:pt>
          <cx:pt idx="2290">41.937741935483878</cx:pt>
          <cx:pt idx="2291">41.981612903225809</cx:pt>
          <cx:pt idx="2292">41.917741935483875</cx:pt>
          <cx:pt idx="2293">41.862580645161287</cx:pt>
          <cx:pt idx="2294">41.95870967741935</cx:pt>
          <cx:pt idx="2295">41.994516129032263</cx:pt>
          <cx:pt idx="2296">41.997419354838712</cx:pt>
          <cx:pt idx="2297">42.006129032258059</cx:pt>
          <cx:pt idx="2298">41.998387096774188</cx:pt>
          <cx:pt idx="2299">42.006129032258059</cx:pt>
          <cx:pt idx="2300">42.022903225806459</cx:pt>
          <cx:pt idx="2301">42.030322580645155</cx:pt>
          <cx:pt idx="2302">42.096129032258055</cx:pt>
          <cx:pt idx="2303">42.149999999999999</cx:pt>
          <cx:pt idx="2304">42.148064516129033</cx:pt>
          <cx:pt idx="2305">42.07870967741934</cx:pt>
          <cx:pt idx="2306">42.094838709677411</cx:pt>
          <cx:pt idx="2307">42.062258064516122</cx:pt>
          <cx:pt idx="2308">42.021612903225808</cx:pt>
          <cx:pt idx="2309">41.910000000000004</cx:pt>
          <cx:pt idx="2310">41.808064516129036</cx:pt>
          <cx:pt idx="2311">41.784838709677423</cx:pt>
          <cx:pt idx="2312">41.771290322580647</cx:pt>
          <cx:pt idx="2313">41.729354838709682</cx:pt>
          <cx:pt idx="2314">41.740000000000002</cx:pt>
          <cx:pt idx="2315">41.762258064516132</cx:pt>
          <cx:pt idx="2316">41.758709677419354</cx:pt>
          <cx:pt idx="2317">41.756451612903227</cx:pt>
          <cx:pt idx="2318">41.755806451612898</cx:pt>
          <cx:pt idx="2319">41.848387096774182</cx:pt>
          <cx:pt idx="2320">41.801612903225802</cx:pt>
          <cx:pt idx="2321">41.814193548387095</cx:pt>
          <cx:pt idx="2322">41.7541935483871</cx:pt>
          <cx:pt idx="2323">41.846129032258062</cx:pt>
          <cx:pt idx="2324">41.927096774193551</cx:pt>
          <cx:pt idx="2325">41.90225806451614</cx:pt>
          <cx:pt idx="2326">41.858387096774194</cx:pt>
          <cx:pt idx="2327">41.857741935483872</cx:pt>
          <cx:pt idx="2328">41.822903225806449</cx:pt>
          <cx:pt idx="2329">41.789354838709677</cx:pt>
          <cx:pt idx="2330">41.783870967741933</cx:pt>
          <cx:pt idx="2331">41.700000000000003</cx:pt>
          <cx:pt idx="2332">41.671612903225814</cx:pt>
          <cx:pt idx="2333">41.643548387096779</cx:pt>
          <cx:pt idx="2334">41.67032258064517</cx:pt>
          <cx:pt idx="2335">41.623870967741944</cx:pt>
          <cx:pt idx="2336">41.604193548387101</cx:pt>
          <cx:pt idx="2337">41.564838709677417</cx:pt>
          <cx:pt idx="2338">41.537419354838711</cx:pt>
          <cx:pt idx="2339">41.557096774193539</cx:pt>
          <cx:pt idx="2340">41.598387096774189</cx:pt>
          <cx:pt idx="2341">41.629354838709666</cx:pt>
          <cx:pt idx="2342">41.629999999999988</cx:pt>
          <cx:pt idx="2343">41.621290322580641</cx:pt>
          <cx:pt idx="2344">41.729999999999997</cx:pt>
          <cx:pt idx="2345">41.733548387096775</cx:pt>
          <cx:pt idx="2346">41.781935483870967</cx:pt>
          <cx:pt idx="2347">41.851935483870967</cx:pt>
          <cx:pt idx="2348">41.852258064516136</cx:pt>
          <cx:pt idx="2349">41.906774193548401</cx:pt>
          <cx:pt idx="2350">41.920967741935485</cx:pt>
          <cx:pt idx="2351">41.967741935483872</cx:pt>
          <cx:pt idx="2352">42.000322580645161</cx:pt>
          <cx:pt idx="2353">42.028387096774203</cx:pt>
          <cx:pt idx="2354">41.958709677419357</cx:pt>
          <cx:pt idx="2355">41.862903225806456</cx:pt>
          <cx:pt idx="2356">41.832903225806454</cx:pt>
          <cx:pt idx="2357">41.855806451612906</cx:pt>
          <cx:pt idx="2358">41.918064516129036</cx:pt>
          <cx:pt idx="2359">42.004838709677415</cx:pt>
          <cx:pt idx="2360">41.983870967741929</cx:pt>
          <cx:pt idx="2361">41.965806451612899</cx:pt>
          <cx:pt idx="2362">42.033225806451604</cx:pt>
          <cx:pt idx="2363">42.035483870967731</cx:pt>
          <cx:pt idx="2364">42.046129032258058</cx:pt>
          <cx:pt idx="2365">42.035806451612899</cx:pt>
          <cx:pt idx="2366">42.048387096774185</cx:pt>
          <cx:pt idx="2367">42.108064516129026</cx:pt>
          <cx:pt idx="2368">42.042258064516126</cx:pt>
          <cx:pt idx="2369">42.10516129032257</cx:pt>
          <cx:pt idx="2370">42.068064516129027</cx:pt>
          <cx:pt idx="2371">42.087333333333326</cx:pt>
          <cx:pt idx="2372">42.104482758620691</cx:pt>
          <cx:pt idx="2373">42.132857142857141</cx:pt>
          <cx:pt idx="2374">42.14222222222223</cx:pt>
          <cx:pt idx="2375">42.081153846153853</cx:pt>
          <cx:pt idx="2376">42.096000000000004</cx:pt>
          <cx:pt idx="2377">42.090833333333343</cx:pt>
          <cx:pt idx="2378">42.050869565217397</cx:pt>
          <cx:pt idx="2379">41.973636363636366</cx:pt>
          <cx:pt idx="2380">41.980476190476189</cx:pt>
          <cx:pt idx="2381">41.903500000000008</cx:pt>
          <cx:pt idx="2382">41.898421052631583</cx:pt>
          <cx:pt idx="2383">41.911666666666669</cx:pt>
          <cx:pt idx="2384">41.911176470588238</cx:pt>
          <cx:pt idx="2385">41.965625000000003</cx:pt>
          <cx:pt idx="2386">42.045333333333332</cx:pt>
          <cx:pt idx="2387">42.07714285714286</cx:pt>
          <cx:pt idx="2388">42.160000000000004</cx:pt>
          <cx:pt idx="2389">42.165833333333332</cx:pt>
          <cx:pt idx="2390">42.07090909090909</cx:pt>
          <cx:pt idx="2391">42.191999999999993</cx:pt>
          <cx:pt idx="2392">42.18666666666666</cx:pt>
          <cx:pt idx="2393">42.149999999999999</cx:pt>
          <cx:pt idx="2394">42.132857142857141</cx:pt>
          <cx:pt idx="2395">42.101666666666667</cx:pt>
          <cx:pt idx="2396">41.892000000000003</cx:pt>
          <cx:pt idx="2397">41.962500000000006</cx:pt>
          <cx:pt idx="2398">41.836666666666666</cx:pt>
          <cx:pt idx="2399">42.414999999999999</cx:pt>
          <cx:pt idx="2400">41.960000000000001</cx:pt>
        </cx:lvl>
      </cx:numDim>
    </cx:data>
    <cx:data id="2">
      <cx:numDim type="val">
        <cx:f>'DRT Rolling Mean'!$E$2:$E$1048576</cx:f>
        <cx:lvl ptCount="2401" formatCode="#,##0.00">
          <cx:pt idx="0">88.935483870967744</cx:pt>
          <cx:pt idx="1">88.387096774193552</cx:pt>
          <cx:pt idx="2">88.548387096774192</cx:pt>
          <cx:pt idx="3">89.032258064516128</cx:pt>
          <cx:pt idx="4">88.967741935483872</cx:pt>
          <cx:pt idx="5">88.967741935483872</cx:pt>
          <cx:pt idx="6">88.806451612903231</cx:pt>
          <cx:pt idx="7">88.741935483870961</cx:pt>
          <cx:pt idx="8">88.193548387096769</cx:pt>
          <cx:pt idx="9">87.870967741935488</cx:pt>
          <cx:pt idx="10">88.064516129032256</cx:pt>
          <cx:pt idx="11">87.935483870967744</cx:pt>
          <cx:pt idx="12">88.290322580645167</cx:pt>
          <cx:pt idx="13">88.677419354838705</cx:pt>
          <cx:pt idx="14">88.870967741935488</cx:pt>
          <cx:pt idx="15">88.903225806451616</cx:pt>
          <cx:pt idx="16">89.161290322580641</cx:pt>
          <cx:pt idx="17">89.354838709677423</cx:pt>
          <cx:pt idx="18">89.290322580645167</cx:pt>
          <cx:pt idx="19">89.096774193548384</cx:pt>
          <cx:pt idx="20">89.032258064516128</cx:pt>
          <cx:pt idx="21">88.935483870967744</cx:pt>
          <cx:pt idx="22">88.709677419354833</cx:pt>
          <cx:pt idx="23">88.516129032258064</cx:pt>
          <cx:pt idx="24">88.612903225806448</cx:pt>
          <cx:pt idx="25">88.096774193548384</cx:pt>
          <cx:pt idx="26">88.58064516129032</cx:pt>
          <cx:pt idx="27">88.322580645161295</cx:pt>
          <cx:pt idx="28">88.451612903225808</cx:pt>
          <cx:pt idx="29">87.903225806451616</cx:pt>
          <cx:pt idx="30">87.935483870967744</cx:pt>
          <cx:pt idx="31">87.41935483870968</cx:pt>
          <cx:pt idx="32">87.58064516129032</cx:pt>
          <cx:pt idx="33">87.290322580645167</cx:pt>
          <cx:pt idx="34">87.451612903225808</cx:pt>
          <cx:pt idx="35">87.41935483870968</cx:pt>
          <cx:pt idx="36">87.354838709677423</cx:pt>
          <cx:pt idx="37">87.354838709677423</cx:pt>
          <cx:pt idx="38">87.709677419354833</cx:pt>
          <cx:pt idx="39">87.806451612903231</cx:pt>
          <cx:pt idx="40">87.935483870967744</cx:pt>
          <cx:pt idx="41">87.741935483870961</cx:pt>
          <cx:pt idx="42">87.870967741935488</cx:pt>
          <cx:pt idx="43">87.483870967741936</cx:pt>
          <cx:pt idx="44">87.225806451612897</cx:pt>
          <cx:pt idx="45">87.129032258064512</cx:pt>
          <cx:pt idx="46">86.838709677419359</cx:pt>
          <cx:pt idx="47">86.483870967741936</cx:pt>
          <cx:pt idx="48">86.451612903225808</cx:pt>
          <cx:pt idx="49">86.225806451612897</cx:pt>
          <cx:pt idx="50">86.58064516129032</cx:pt>
          <cx:pt idx="51">87.193548387096769</cx:pt>
          <cx:pt idx="52">87.064516129032256</cx:pt>
          <cx:pt idx="53">87.129032258064512</cx:pt>
          <cx:pt idx="54">87.612903225806448</cx:pt>
          <cx:pt idx="55">87.709677419354833</cx:pt>
          <cx:pt idx="56">88.096774193548384</cx:pt>
          <cx:pt idx="57">87.838709677419359</cx:pt>
          <cx:pt idx="58">88.064516129032256</cx:pt>
          <cx:pt idx="59">88.387096774193552</cx:pt>
          <cx:pt idx="60">88.645161290322577</cx:pt>
          <cx:pt idx="61">88.645161290322577</cx:pt>
          <cx:pt idx="62">88.903225806451616</cx:pt>
          <cx:pt idx="63">89.064516129032256</cx:pt>
          <cx:pt idx="64">89.290322580645167</cx:pt>
          <cx:pt idx="65">88.806451612903231</cx:pt>
          <cx:pt idx="66">88.935483870967744</cx:pt>
          <cx:pt idx="67">89.064516129032256</cx:pt>
          <cx:pt idx="68">89.258064516129039</cx:pt>
          <cx:pt idx="69">88.935483870967744</cx:pt>
          <cx:pt idx="70">89.354838709677423</cx:pt>
          <cx:pt idx="71">89.838709677419359</cx:pt>
          <cx:pt idx="72">90.193548387096769</cx:pt>
          <cx:pt idx="73">90.451612903225808</cx:pt>
          <cx:pt idx="74">90.516129032258064</cx:pt>
          <cx:pt idx="75">90.774193548387103</cx:pt>
          <cx:pt idx="76">90.935483870967744</cx:pt>
          <cx:pt idx="77">91.290322580645167</cx:pt>
          <cx:pt idx="78">91.354838709677423</cx:pt>
          <cx:pt idx="79">91.129032258064512</cx:pt>
          <cx:pt idx="80">91.645161290322577</cx:pt>
          <cx:pt idx="81">91.838709677419359</cx:pt>
          <cx:pt idx="82">91.483870967741936</cx:pt>
          <cx:pt idx="83">91.838709677419359</cx:pt>
          <cx:pt idx="84">91.709677419354833</cx:pt>
          <cx:pt idx="85">91.645161290322577</cx:pt>
          <cx:pt idx="86">91.451612903225808</cx:pt>
          <cx:pt idx="87">91.645161290322577</cx:pt>
          <cx:pt idx="88">91.806451612903231</cx:pt>
          <cx:pt idx="89">91.677419354838705</cx:pt>
          <cx:pt idx="90">91.645161290322577</cx:pt>
          <cx:pt idx="91">91.806451612903231</cx:pt>
          <cx:pt idx="92">91.451612903225808</cx:pt>
          <cx:pt idx="93">91.193548387096769</cx:pt>
          <cx:pt idx="94">91.096774193548384</cx:pt>
          <cx:pt idx="95">90.645161290322577</cx:pt>
          <cx:pt idx="96">90.774193548387103</cx:pt>
          <cx:pt idx="97">91.032258064516128</cx:pt>
          <cx:pt idx="98">91.096774193548384</cx:pt>
          <cx:pt idx="99">91.193548387096769</cx:pt>
          <cx:pt idx="100">91.161290322580641</cx:pt>
          <cx:pt idx="101">90.612903225806448</cx:pt>
          <cx:pt idx="102">90.41935483870968</cx:pt>
          <cx:pt idx="103">90.096774193548384</cx:pt>
          <cx:pt idx="104">90.225806451612897</cx:pt>
          <cx:pt idx="105">90.451612903225808</cx:pt>
          <cx:pt idx="106">90.387096774193552</cx:pt>
          <cx:pt idx="107">89.935483870967744</cx:pt>
          <cx:pt idx="108">89.903225806451616</cx:pt>
          <cx:pt idx="109">90.258064516129039</cx:pt>
          <cx:pt idx="110">90.193548387096769</cx:pt>
          <cx:pt idx="111">90.258064516129039</cx:pt>
          <cx:pt idx="112">90.096774193548384</cx:pt>
          <cx:pt idx="113">90.225806451612897</cx:pt>
          <cx:pt idx="114">90.032258064516128</cx:pt>
          <cx:pt idx="115">90.193548387096769</cx:pt>
          <cx:pt idx="116">89.806451612903231</cx:pt>
          <cx:pt idx="117">90.129032258064512</cx:pt>
          <cx:pt idx="118">89.548387096774192</cx:pt>
          <cx:pt idx="119">89.516129032258064</cx:pt>
          <cx:pt idx="120">89.258064516129039</cx:pt>
          <cx:pt idx="121">89.096774193548384</cx:pt>
          <cx:pt idx="122">88.838709677419359</cx:pt>
          <cx:pt idx="123">89</cx:pt>
          <cx:pt idx="124">89.129032258064512</cx:pt>
          <cx:pt idx="125">89.225806451612897</cx:pt>
          <cx:pt idx="126">89.516129032258064</cx:pt>
          <cx:pt idx="127">89.870967741935488</cx:pt>
          <cx:pt idx="128">89.548387096774192</cx:pt>
          <cx:pt idx="129">89.612903225806448</cx:pt>
          <cx:pt idx="130">89.645161290322577</cx:pt>
          <cx:pt idx="131">89.612903225806448</cx:pt>
          <cx:pt idx="132">89.838709677419359</cx:pt>
          <cx:pt idx="133">89.903225806451616</cx:pt>
          <cx:pt idx="134">89.967741935483872</cx:pt>
          <cx:pt idx="135">89.58064516129032</cx:pt>
          <cx:pt idx="136">89.548387096774192</cx:pt>
          <cx:pt idx="137">89.193548387096769</cx:pt>
          <cx:pt idx="138">89.58064516129032</cx:pt>
          <cx:pt idx="139">89.483870967741936</cx:pt>
          <cx:pt idx="140">89.096774193548384</cx:pt>
          <cx:pt idx="141">89.41935483870968</cx:pt>
          <cx:pt idx="142">88.806451612903231</cx:pt>
          <cx:pt idx="143">88.451612903225808</cx:pt>
          <cx:pt idx="144">88.548387096774192</cx:pt>
          <cx:pt idx="145">88.41935483870968</cx:pt>
          <cx:pt idx="146">88.322580645161295</cx:pt>
          <cx:pt idx="147">88.516129032258064</cx:pt>
          <cx:pt idx="148">88.225806451612897</cx:pt>
          <cx:pt idx="149">88.58064516129032</cx:pt>
          <cx:pt idx="150">88.516129032258064</cx:pt>
          <cx:pt idx="151">88.645161290322577</cx:pt>
          <cx:pt idx="152">88.935483870967744</cx:pt>
          <cx:pt idx="153">89.354838709677423</cx:pt>
          <cx:pt idx="154">89.451612903225808</cx:pt>
          <cx:pt idx="155">89.41935483870968</cx:pt>
          <cx:pt idx="156">89.677419354838705</cx:pt>
          <cx:pt idx="157">89.935483870967744</cx:pt>
          <cx:pt idx="158">89.806451612903231</cx:pt>
          <cx:pt idx="159">90.064516129032256</cx:pt>
          <cx:pt idx="160">89.870967741935488</cx:pt>
          <cx:pt idx="161">89.322580645161295</cx:pt>
          <cx:pt idx="162">89.483870967741936</cx:pt>
          <cx:pt idx="163">89.774193548387103</cx:pt>
          <cx:pt idx="164">89.58064516129032</cx:pt>
          <cx:pt idx="165">89.806451612903231</cx:pt>
          <cx:pt idx="166">89.677419354838705</cx:pt>
          <cx:pt idx="167">89.870967741935488</cx:pt>
          <cx:pt idx="168">90.225806451612897</cx:pt>
          <cx:pt idx="169">90.129032258064512</cx:pt>
          <cx:pt idx="170">90.193548387096769</cx:pt>
          <cx:pt idx="171">90.483870967741936</cx:pt>
          <cx:pt idx="172">90</cx:pt>
          <cx:pt idx="173">90.548387096774192</cx:pt>
          <cx:pt idx="174">91</cx:pt>
          <cx:pt idx="175">90.806451612903231</cx:pt>
          <cx:pt idx="176">90.935483870967744</cx:pt>
          <cx:pt idx="177">90.903225806451616</cx:pt>
          <cx:pt idx="178">91.032258064516128</cx:pt>
          <cx:pt idx="179">91.096774193548384</cx:pt>
          <cx:pt idx="180">90.709677419354833</cx:pt>
          <cx:pt idx="181">90.451612903225808</cx:pt>
          <cx:pt idx="182">90.161290322580641</cx:pt>
          <cx:pt idx="183">89.806451612903231</cx:pt>
          <cx:pt idx="184">89.322580645161295</cx:pt>
          <cx:pt idx="185">89.032258064516128</cx:pt>
          <cx:pt idx="186">88.967741935483872</cx:pt>
          <cx:pt idx="187">88.451612903225808</cx:pt>
          <cx:pt idx="188">88.032258064516128</cx:pt>
          <cx:pt idx="189">88.161290322580641</cx:pt>
          <cx:pt idx="190">88.290322580645167</cx:pt>
          <cx:pt idx="191">87.967741935483872</cx:pt>
          <cx:pt idx="192">88.290322580645167</cx:pt>
          <cx:pt idx="193">88.096774193548384</cx:pt>
          <cx:pt idx="194">87.774193548387103</cx:pt>
          <cx:pt idx="195">87.870967741935488</cx:pt>
          <cx:pt idx="196">87.935483870967744</cx:pt>
          <cx:pt idx="197">87.903225806451616</cx:pt>
          <cx:pt idx="198">88</cx:pt>
          <cx:pt idx="199">87.838709677419359</cx:pt>
          <cx:pt idx="200">87.967741935483872</cx:pt>
          <cx:pt idx="201">88.064516129032256</cx:pt>
          <cx:pt idx="202">88</cx:pt>
          <cx:pt idx="203">88.483870967741936</cx:pt>
          <cx:pt idx="204">88.322580645161295</cx:pt>
          <cx:pt idx="205">87.935483870967744</cx:pt>
          <cx:pt idx="206">87.741935483870961</cx:pt>
          <cx:pt idx="207">87.935483870967744</cx:pt>
          <cx:pt idx="208">88.354838709677423</cx:pt>
          <cx:pt idx="209">88.161290322580641</cx:pt>
          <cx:pt idx="210">88.129032258064512</cx:pt>
          <cx:pt idx="211">88.387096774193552</cx:pt>
          <cx:pt idx="212">88.709677419354833</cx:pt>
          <cx:pt idx="213">89.258064516129039</cx:pt>
          <cx:pt idx="214">89.612903225806448</cx:pt>
          <cx:pt idx="215">90.290322580645167</cx:pt>
          <cx:pt idx="216">90.967741935483872</cx:pt>
          <cx:pt idx="217">91.516129032258064</cx:pt>
          <cx:pt idx="218">92.161290322580641</cx:pt>
          <cx:pt idx="219">92.548387096774192</cx:pt>
          <cx:pt idx="220">92.483870967741936</cx:pt>
          <cx:pt idx="221">92.612903225806448</cx:pt>
          <cx:pt idx="222">93.161290322580641</cx:pt>
          <cx:pt idx="223">93.483870967741936</cx:pt>
          <cx:pt idx="224">94.064516129032256</cx:pt>
          <cx:pt idx="225">94.516129032258064</cx:pt>
          <cx:pt idx="226">94.677419354838705</cx:pt>
          <cx:pt idx="227">94.774193548387103</cx:pt>
          <cx:pt idx="228">95.483870967741936</cx:pt>
          <cx:pt idx="229">95.516129032258064</cx:pt>
          <cx:pt idx="230">95.903225806451616</cx:pt>
          <cx:pt idx="231">96.129032258064512</cx:pt>
          <cx:pt idx="232">96.193548387096769</cx:pt>
          <cx:pt idx="233">96.483870967741936</cx:pt>
          <cx:pt idx="234">96.451612903225808</cx:pt>
          <cx:pt idx="235">96.806451612903231</cx:pt>
          <cx:pt idx="236">97.322580645161295</cx:pt>
          <cx:pt idx="237">97.903225806451616</cx:pt>
          <cx:pt idx="238">98.064516129032256</cx:pt>
          <cx:pt idx="239">97.967741935483872</cx:pt>
          <cx:pt idx="240">98.451612903225808</cx:pt>
          <cx:pt idx="241">98.806451612903231</cx:pt>
          <cx:pt idx="242">99.322580645161295</cx:pt>
          <cx:pt idx="243">99.677419354838705</cx:pt>
          <cx:pt idx="244">99.935483870967744</cx:pt>
          <cx:pt idx="245">99.903225806451616</cx:pt>
          <cx:pt idx="246">99.645161290322577</cx:pt>
          <cx:pt idx="247">99.451612903225808</cx:pt>
          <cx:pt idx="248">99.41935483870968</cx:pt>
          <cx:pt idx="249">99.193548387096769</cx:pt>
          <cx:pt idx="250">99.290322580645167</cx:pt>
          <cx:pt idx="251">99.387096774193552</cx:pt>
          <cx:pt idx="252">99.354838709677423</cx:pt>
          <cx:pt idx="253">99.41935483870968</cx:pt>
          <cx:pt idx="254">99.483870967741936</cx:pt>
          <cx:pt idx="255">99.322580645161295</cx:pt>
          <cx:pt idx="256">99.225806451612897</cx:pt>
          <cx:pt idx="257">98.935483870967744</cx:pt>
          <cx:pt idx="258">98.645161290322577</cx:pt>
          <cx:pt idx="259">98.032258064516128</cx:pt>
          <cx:pt idx="260">97.677419354838705</cx:pt>
          <cx:pt idx="261">97.41935483870968</cx:pt>
          <cx:pt idx="262">97.258064516129039</cx:pt>
          <cx:pt idx="263">96.870967741935488</cx:pt>
          <cx:pt idx="264">96.41935483870968</cx:pt>
          <cx:pt idx="265">96.483870967741936</cx:pt>
          <cx:pt idx="266">96.032258064516128</cx:pt>
          <cx:pt idx="267">95.516129032258064</cx:pt>
          <cx:pt idx="268">94.967741935483872</cx:pt>
          <cx:pt idx="269">94.677419354838705</cx:pt>
          <cx:pt idx="270">94.354838709677423</cx:pt>
          <cx:pt idx="271">94.129032258064512</cx:pt>
          <cx:pt idx="272">94</cx:pt>
          <cx:pt idx="273">93.290322580645167</cx:pt>
          <cx:pt idx="274">92.677419354838705</cx:pt>
          <cx:pt idx="275">92.225806451612897</cx:pt>
          <cx:pt idx="276">91.870967741935488</cx:pt>
          <cx:pt idx="277">91.612903225806448</cx:pt>
          <cx:pt idx="278">91.741935483870961</cx:pt>
          <cx:pt idx="279">91.483870967741936</cx:pt>
          <cx:pt idx="280">91.322580645161295</cx:pt>
          <cx:pt idx="281">90.967741935483872</cx:pt>
          <cx:pt idx="282">90.741935483870961</cx:pt>
          <cx:pt idx="283">90.58064516129032</cx:pt>
          <cx:pt idx="284">90.258064516129039</cx:pt>
          <cx:pt idx="285">90.096774193548384</cx:pt>
          <cx:pt idx="286">89.612903225806448</cx:pt>
          <cx:pt idx="287">89.612903225806448</cx:pt>
          <cx:pt idx="288">89.838709677419359</cx:pt>
          <cx:pt idx="289">89.677419354838705</cx:pt>
          <cx:pt idx="290">89.774193548387103</cx:pt>
          <cx:pt idx="291">89.774193548387103</cx:pt>
          <cx:pt idx="292">90</cx:pt>
          <cx:pt idx="293">89.903225806451616</cx:pt>
          <cx:pt idx="294">90.258064516129039</cx:pt>
          <cx:pt idx="295">90.290322580645167</cx:pt>
          <cx:pt idx="296">90.032258064516128</cx:pt>
          <cx:pt idx="297">90.064516129032256</cx:pt>
          <cx:pt idx="298">90.258064516129039</cx:pt>
          <cx:pt idx="299">90.741935483870961</cx:pt>
          <cx:pt idx="300">90.967741935483872</cx:pt>
          <cx:pt idx="301">90.967741935483872</cx:pt>
          <cx:pt idx="302">90.516129032258064</cx:pt>
          <cx:pt idx="303">90.516129032258064</cx:pt>
          <cx:pt idx="304">91.032258064516128</cx:pt>
          <cx:pt idx="305">91.129032258064512</cx:pt>
          <cx:pt idx="306">90.935483870967744</cx:pt>
          <cx:pt idx="307">91.161290322580641</cx:pt>
          <cx:pt idx="308">91.516129032258064</cx:pt>
          <cx:pt idx="309">91.451612903225808</cx:pt>
          <cx:pt idx="310">91.58064516129032</cx:pt>
          <cx:pt idx="311">91.838709677419359</cx:pt>
          <cx:pt idx="312">91.774193548387103</cx:pt>
          <cx:pt idx="313">91.387096774193552</cx:pt>
          <cx:pt idx="314">91.41935483870968</cx:pt>
          <cx:pt idx="315">91.741935483870961</cx:pt>
          <cx:pt idx="316">91.58064516129032</cx:pt>
          <cx:pt idx="317">92.096774193548384</cx:pt>
          <cx:pt idx="318">92.064516129032256</cx:pt>
          <cx:pt idx="319">91.645161290322577</cx:pt>
          <cx:pt idx="320">91.935483870967744</cx:pt>
          <cx:pt idx="321">91.741935483870961</cx:pt>
          <cx:pt idx="322">91.612903225806448</cx:pt>
          <cx:pt idx="323">91.709677419354833</cx:pt>
          <cx:pt idx="324">91.483870967741936</cx:pt>
          <cx:pt idx="325">91.096774193548384</cx:pt>
          <cx:pt idx="326">90.935483870967744</cx:pt>
          <cx:pt idx="327">90.645161290322577</cx:pt>
          <cx:pt idx="328">90.483870967741936</cx:pt>
          <cx:pt idx="329">90.774193548387103</cx:pt>
          <cx:pt idx="330">90.709677419354833</cx:pt>
          <cx:pt idx="331">90.258064516129039</cx:pt>
          <cx:pt idx="332">90.322580645161295</cx:pt>
          <cx:pt idx="333">90.290322580645167</cx:pt>
          <cx:pt idx="334">90.290322580645167</cx:pt>
          <cx:pt idx="335">90.354838709677423</cx:pt>
          <cx:pt idx="336">90.58064516129032</cx:pt>
          <cx:pt idx="337">91</cx:pt>
          <cx:pt idx="338">90.709677419354833</cx:pt>
          <cx:pt idx="339">90.709677419354833</cx:pt>
          <cx:pt idx="340">90.58064516129032</cx:pt>
          <cx:pt idx="341">90.741935483870961</cx:pt>
          <cx:pt idx="342">90.516129032258064</cx:pt>
          <cx:pt idx="343">90.58064516129032</cx:pt>
          <cx:pt idx="344">90.935483870967744</cx:pt>
          <cx:pt idx="345">90.838709677419359</cx:pt>
          <cx:pt idx="346">90.387096774193552</cx:pt>
          <cx:pt idx="347">90</cx:pt>
          <cx:pt idx="348">89.709677419354833</cx:pt>
          <cx:pt idx="349">89.387096774193552</cx:pt>
          <cx:pt idx="350">89.903225806451616</cx:pt>
          <cx:pt idx="351">90.032258064516128</cx:pt>
          <cx:pt idx="352">90.612903225806448</cx:pt>
          <cx:pt idx="353">90.967741935483872</cx:pt>
          <cx:pt idx="354">90.451612903225808</cx:pt>
          <cx:pt idx="355">90.322580645161295</cx:pt>
          <cx:pt idx="356">90.516129032258064</cx:pt>
          <cx:pt idx="357">90.451612903225808</cx:pt>
          <cx:pt idx="358">90.483870967741936</cx:pt>
          <cx:pt idx="359">90.645161290322577</cx:pt>
          <cx:pt idx="360">90.322580645161295</cx:pt>
          <cx:pt idx="361">89.741935483870961</cx:pt>
          <cx:pt idx="362">89.612903225806448</cx:pt>
          <cx:pt idx="363">89.483870967741936</cx:pt>
          <cx:pt idx="364">89.548387096774192</cx:pt>
          <cx:pt idx="365">89.483870967741936</cx:pt>
          <cx:pt idx="366">89.483870967741936</cx:pt>
          <cx:pt idx="367">89.451612903225808</cx:pt>
          <cx:pt idx="368">89.322580645161295</cx:pt>
          <cx:pt idx="369">89.806451612903231</cx:pt>
          <cx:pt idx="370">89.483870967741936</cx:pt>
          <cx:pt idx="371">89.290322580645167</cx:pt>
          <cx:pt idx="372">88.903225806451616</cx:pt>
          <cx:pt idx="373">88.903225806451616</cx:pt>
          <cx:pt idx="374">89.258064516129039</cx:pt>
          <cx:pt idx="375">88.838709677419359</cx:pt>
          <cx:pt idx="376">88.516129032258064</cx:pt>
          <cx:pt idx="377">88.387096774193552</cx:pt>
          <cx:pt idx="378">88.58064516129032</cx:pt>
          <cx:pt idx="379">88.806451612903231</cx:pt>
          <cx:pt idx="380">88.935483870967744</cx:pt>
          <cx:pt idx="381">88.903225806451616</cx:pt>
          <cx:pt idx="382">88.387096774193552</cx:pt>
          <cx:pt idx="383">88</cx:pt>
          <cx:pt idx="384">88.129032258064512</cx:pt>
          <cx:pt idx="385">88.193548387096769</cx:pt>
          <cx:pt idx="386">88.096774193548384</cx:pt>
          <cx:pt idx="387">87.838709677419359</cx:pt>
          <cx:pt idx="388">87.903225806451616</cx:pt>
          <cx:pt idx="389">88.451612903225808</cx:pt>
          <cx:pt idx="390">88.129032258064512</cx:pt>
          <cx:pt idx="391">87.870967741935488</cx:pt>
          <cx:pt idx="392">88.516129032258064</cx:pt>
          <cx:pt idx="393">89.161290322580641</cx:pt>
          <cx:pt idx="394">89.709677419354833</cx:pt>
          <cx:pt idx="395">90.161290322580641</cx:pt>
          <cx:pt idx="396">90.322580645161295</cx:pt>
          <cx:pt idx="397">89.903225806451616</cx:pt>
          <cx:pt idx="398">90</cx:pt>
          <cx:pt idx="399">89.645161290322577</cx:pt>
          <cx:pt idx="400">89.258064516129039</cx:pt>
          <cx:pt idx="401">89.161290322580641</cx:pt>
          <cx:pt idx="402">89.129032258064512</cx:pt>
          <cx:pt idx="403">89.387096774193552</cx:pt>
          <cx:pt idx="404">89.129032258064512</cx:pt>
          <cx:pt idx="405">88.774193548387103</cx:pt>
          <cx:pt idx="406">89.290322580645167</cx:pt>
          <cx:pt idx="407">89.806451612903231</cx:pt>
          <cx:pt idx="408">90.258064516129039</cx:pt>
          <cx:pt idx="409">90.322580645161295</cx:pt>
          <cx:pt idx="410">90.193548387096769</cx:pt>
          <cx:pt idx="411">89.903225806451616</cx:pt>
          <cx:pt idx="412">89.709677419354833</cx:pt>
          <cx:pt idx="413">90</cx:pt>
          <cx:pt idx="414">90.354838709677423</cx:pt>
          <cx:pt idx="415">89.903225806451616</cx:pt>
          <cx:pt idx="416">90.290322580645167</cx:pt>
          <cx:pt idx="417">90.41935483870968</cx:pt>
          <cx:pt idx="418">90.870967741935488</cx:pt>
          <cx:pt idx="419">90.741935483870961</cx:pt>
          <cx:pt idx="420">90.193548387096769</cx:pt>
          <cx:pt idx="421">90.645161290322577</cx:pt>
          <cx:pt idx="422">90.741935483870961</cx:pt>
          <cx:pt idx="423">90.258064516129039</cx:pt>
          <cx:pt idx="424">89.870967741935488</cx:pt>
          <cx:pt idx="425">89.225806451612897</cx:pt>
          <cx:pt idx="426">88.903225806451616</cx:pt>
          <cx:pt idx="427">88.903225806451616</cx:pt>
          <cx:pt idx="428">88.903225806451616</cx:pt>
          <cx:pt idx="429">88.967741935483872</cx:pt>
          <cx:pt idx="430">88.935483870967744</cx:pt>
          <cx:pt idx="431">88.677419354838705</cx:pt>
          <cx:pt idx="432">88.483870967741936</cx:pt>
          <cx:pt idx="433">88.870967741935488</cx:pt>
          <cx:pt idx="434">89</cx:pt>
          <cx:pt idx="435">89.290322580645167</cx:pt>
          <cx:pt idx="436">89.161290322580641</cx:pt>
          <cx:pt idx="437">88.645161290322577</cx:pt>
          <cx:pt idx="438">88.741935483870961</cx:pt>
          <cx:pt idx="439">88.322580645161295</cx:pt>
          <cx:pt idx="440">88.387096774193552</cx:pt>
          <cx:pt idx="441">88.41935483870968</cx:pt>
          <cx:pt idx="442">88.677419354838705</cx:pt>
          <cx:pt idx="443">88.709677419354833</cx:pt>
          <cx:pt idx="444">88.451612903225808</cx:pt>
          <cx:pt idx="445">87.903225806451616</cx:pt>
          <cx:pt idx="446">88.129032258064512</cx:pt>
          <cx:pt idx="447">87.645161290322577</cx:pt>
          <cx:pt idx="448">87.967741935483872</cx:pt>
          <cx:pt idx="449">87.709677419354833</cx:pt>
          <cx:pt idx="450">88.354838709677423</cx:pt>
          <cx:pt idx="451">88.322580645161295</cx:pt>
          <cx:pt idx="452">87.935483870967744</cx:pt>
          <cx:pt idx="453">87.870967741935488</cx:pt>
          <cx:pt idx="454">88.322580645161295</cx:pt>
          <cx:pt idx="455">88.709677419354833</cx:pt>
          <cx:pt idx="456">89.129032258064512</cx:pt>
          <cx:pt idx="457">89.516129032258064</cx:pt>
          <cx:pt idx="458">89.290322580645167</cx:pt>
          <cx:pt idx="459">89.387096774193552</cx:pt>
          <cx:pt idx="460">88.741935483870961</cx:pt>
          <cx:pt idx="461">88.741935483870961</cx:pt>
          <cx:pt idx="462">88.741935483870961</cx:pt>
          <cx:pt idx="463">88.903225806451616</cx:pt>
          <cx:pt idx="464">88.483870967741936</cx:pt>
          <cx:pt idx="465">88.41935483870968</cx:pt>
          <cx:pt idx="466">88.225806451612897</cx:pt>
          <cx:pt idx="467">88.645161290322577</cx:pt>
          <cx:pt idx="468">88.677419354838705</cx:pt>
          <cx:pt idx="469">88.258064516129039</cx:pt>
          <cx:pt idx="470">88.516129032258064</cx:pt>
          <cx:pt idx="471">88.290322580645167</cx:pt>
          <cx:pt idx="472">88.451612903225808</cx:pt>
          <cx:pt idx="473">88.741935483870961</cx:pt>
          <cx:pt idx="474">88.838709677419359</cx:pt>
          <cx:pt idx="475">89.096774193548384</cx:pt>
          <cx:pt idx="476">89.451612903225808</cx:pt>
          <cx:pt idx="477">89.677419354838705</cx:pt>
          <cx:pt idx="478">89.741935483870961</cx:pt>
          <cx:pt idx="479">89.709677419354833</cx:pt>
          <cx:pt idx="480">89.806451612903231</cx:pt>
          <cx:pt idx="481">89.354838709677423</cx:pt>
          <cx:pt idx="482">89.645161290322577</cx:pt>
          <cx:pt idx="483">90.193548387096769</cx:pt>
          <cx:pt idx="484">90.709677419354833</cx:pt>
          <cx:pt idx="485">90.612903225806448</cx:pt>
          <cx:pt idx="486">90.387096774193552</cx:pt>
          <cx:pt idx="487">90.516129032258064</cx:pt>
          <cx:pt idx="488">90.064516129032256</cx:pt>
          <cx:pt idx="489">90.258064516129039</cx:pt>
          <cx:pt idx="490">90.58064516129032</cx:pt>
          <cx:pt idx="491">90.935483870967744</cx:pt>
          <cx:pt idx="492">91.161290322580641</cx:pt>
          <cx:pt idx="493">91.322580645161295</cx:pt>
          <cx:pt idx="494">91.58064516129032</cx:pt>
          <cx:pt idx="495">91.645161290322577</cx:pt>
          <cx:pt idx="496">91.161290322580641</cx:pt>
          <cx:pt idx="497">91.258064516129039</cx:pt>
          <cx:pt idx="498">91.161290322580641</cx:pt>
          <cx:pt idx="499">91.258064516129039</cx:pt>
          <cx:pt idx="500">91.193548387096769</cx:pt>
          <cx:pt idx="501">91.354838709677423</cx:pt>
          <cx:pt idx="502">91.709677419354833</cx:pt>
          <cx:pt idx="503">91.58064516129032</cx:pt>
          <cx:pt idx="504">91.645161290322577</cx:pt>
          <cx:pt idx="505">91.225806451612897</cx:pt>
          <cx:pt idx="506">91.548387096774192</cx:pt>
          <cx:pt idx="507">91.806451612903231</cx:pt>
          <cx:pt idx="508">91.677419354838705</cx:pt>
          <cx:pt idx="509">92.032258064516128</cx:pt>
          <cx:pt idx="510">91.838709677419359</cx:pt>
          <cx:pt idx="511">91.548387096774192</cx:pt>
          <cx:pt idx="512">91.774193548387103</cx:pt>
          <cx:pt idx="513">92</cx:pt>
          <cx:pt idx="514">91.870967741935488</cx:pt>
          <cx:pt idx="515">91.645161290322577</cx:pt>
          <cx:pt idx="516">91.451612903225808</cx:pt>
          <cx:pt idx="517">91.161290322580641</cx:pt>
          <cx:pt idx="518">90.677419354838705</cx:pt>
          <cx:pt idx="519">90.774193548387103</cx:pt>
          <cx:pt idx="520">90.903225806451616</cx:pt>
          <cx:pt idx="521">90.354838709677423</cx:pt>
          <cx:pt idx="522">90.645161290322577</cx:pt>
          <cx:pt idx="523">90.870967741935488</cx:pt>
          <cx:pt idx="524">90.741935483870961</cx:pt>
          <cx:pt idx="525">90.451612903225808</cx:pt>
          <cx:pt idx="526">90.677419354838705</cx:pt>
          <cx:pt idx="527">91.161290322580641</cx:pt>
          <cx:pt idx="528">91.387096774193552</cx:pt>
          <cx:pt idx="529">91.258064516129039</cx:pt>
          <cx:pt idx="530">91.322580645161295</cx:pt>
          <cx:pt idx="531">91.387096774193552</cx:pt>
          <cx:pt idx="532">91.516129032258064</cx:pt>
          <cx:pt idx="533">91.290322580645167</cx:pt>
          <cx:pt idx="534">91.064516129032256</cx:pt>
          <cx:pt idx="535">90.709677419354833</cx:pt>
          <cx:pt idx="536">91.258064516129039</cx:pt>
          <cx:pt idx="537">91.225806451612897</cx:pt>
          <cx:pt idx="538">90.870967741935488</cx:pt>
          <cx:pt idx="539">90.387096774193552</cx:pt>
          <cx:pt idx="540">90</cx:pt>
          <cx:pt idx="541">90</cx:pt>
          <cx:pt idx="542">90.129032258064512</cx:pt>
          <cx:pt idx="543">90.096774193548384</cx:pt>
          <cx:pt idx="544">90.161290322580641</cx:pt>
          <cx:pt idx="545">90.096774193548384</cx:pt>
          <cx:pt idx="546">89.870967741935488</cx:pt>
          <cx:pt idx="547">89.58064516129032</cx:pt>
          <cx:pt idx="548">89.935483870967744</cx:pt>
          <cx:pt idx="549">89.967741935483872</cx:pt>
          <cx:pt idx="550">89.741935483870961</cx:pt>
          <cx:pt idx="551">89.709677419354833</cx:pt>
          <cx:pt idx="552">89.967741935483872</cx:pt>
          <cx:pt idx="553">89.322580645161295</cx:pt>
          <cx:pt idx="554">89.129032258064512</cx:pt>
          <cx:pt idx="555">89.516129032258064</cx:pt>
          <cx:pt idx="556">89.41935483870968</cx:pt>
          <cx:pt idx="557">89.258064516129039</cx:pt>
          <cx:pt idx="558">88.838709677419359</cx:pt>
          <cx:pt idx="559">88.290322580645167</cx:pt>
          <cx:pt idx="560">88.161290322580641</cx:pt>
          <cx:pt idx="561">88.451612903225808</cx:pt>
          <cx:pt idx="562">88.806451612903231</cx:pt>
          <cx:pt idx="563">88.774193548387103</cx:pt>
          <cx:pt idx="564">88.741935483870961</cx:pt>
          <cx:pt idx="565">89.064516129032256</cx:pt>
          <cx:pt idx="566">89.290322580645167</cx:pt>
          <cx:pt idx="567">88.903225806451616</cx:pt>
          <cx:pt idx="568">88.870967741935488</cx:pt>
          <cx:pt idx="569">89.225806451612897</cx:pt>
          <cx:pt idx="570">89.645161290322577</cx:pt>
          <cx:pt idx="571">89.58064516129032</cx:pt>
          <cx:pt idx="572">89.387096774193552</cx:pt>
          <cx:pt idx="573">89.870967741935488</cx:pt>
          <cx:pt idx="574">89.870967741935488</cx:pt>
          <cx:pt idx="575">89.483870967741936</cx:pt>
          <cx:pt idx="576">89.322580645161295</cx:pt>
          <cx:pt idx="577">89.645161290322577</cx:pt>
          <cx:pt idx="578">89.774193548387103</cx:pt>
          <cx:pt idx="579">89.322580645161295</cx:pt>
          <cx:pt idx="580">89.322580645161295</cx:pt>
          <cx:pt idx="581">89.483870967741936</cx:pt>
          <cx:pt idx="582">89.41935483870968</cx:pt>
          <cx:pt idx="583">89.290322580645167</cx:pt>
          <cx:pt idx="584">89.645161290322577</cx:pt>
          <cx:pt idx="585">89.354838709677423</cx:pt>
          <cx:pt idx="586">89.451612903225808</cx:pt>
          <cx:pt idx="587">89.41935483870968</cx:pt>
          <cx:pt idx="588">89.096774193548384</cx:pt>
          <cx:pt idx="589">89.290322580645167</cx:pt>
          <cx:pt idx="590">89.645161290322577</cx:pt>
          <cx:pt idx="591">89.774193548387103</cx:pt>
          <cx:pt idx="592">89.935483870967744</cx:pt>
          <cx:pt idx="593">89.612903225806448</cx:pt>
          <cx:pt idx="594">89.032258064516128</cx:pt>
          <cx:pt idx="595">88.967741935483872</cx:pt>
          <cx:pt idx="596">88.677419354838705</cx:pt>
          <cx:pt idx="597">88.290322580645167</cx:pt>
          <cx:pt idx="598">88.161290322580641</cx:pt>
          <cx:pt idx="599">88.032258064516128</cx:pt>
          <cx:pt idx="600">88</cx:pt>
          <cx:pt idx="601">88.161290322580641</cx:pt>
          <cx:pt idx="602">88.645161290322577</cx:pt>
          <cx:pt idx="603">89.354838709677423</cx:pt>
          <cx:pt idx="604">89.290322580645167</cx:pt>
          <cx:pt idx="605">89.387096774193552</cx:pt>
          <cx:pt idx="606">89.806451612903231</cx:pt>
          <cx:pt idx="607">90.225806451612897</cx:pt>
          <cx:pt idx="608">90.354838709677423</cx:pt>
          <cx:pt idx="609">90.806451612903231</cx:pt>
          <cx:pt idx="610">91.483870967741936</cx:pt>
          <cx:pt idx="611">92.193548387096769</cx:pt>
          <cx:pt idx="612">92.516129032258064</cx:pt>
          <cx:pt idx="613">92.645161290322577</cx:pt>
          <cx:pt idx="614">93.161290322580641</cx:pt>
          <cx:pt idx="615">93.290322580645167</cx:pt>
          <cx:pt idx="616">93.741935483870961</cx:pt>
          <cx:pt idx="617">93.709677419354833</cx:pt>
          <cx:pt idx="618">94.290322580645167</cx:pt>
          <cx:pt idx="619">94.967741935483872</cx:pt>
          <cx:pt idx="620">95.290322580645167</cx:pt>
          <cx:pt idx="621">95.451612903225808</cx:pt>
          <cx:pt idx="622">95.709677419354833</cx:pt>
          <cx:pt idx="623">95.709677419354833</cx:pt>
          <cx:pt idx="624">96.064516129032256</cx:pt>
          <cx:pt idx="625">96.838709677419359</cx:pt>
          <cx:pt idx="626">97.516129032258064</cx:pt>
          <cx:pt idx="627">98.064516129032256</cx:pt>
          <cx:pt idx="628">98.677419354838705</cx:pt>
          <cx:pt idx="629">99.193548387096769</cx:pt>
          <cx:pt idx="630">99.290322580645167</cx:pt>
          <cx:pt idx="631">99.387096774193552</cx:pt>
          <cx:pt idx="632">99.354838709677423</cx:pt>
          <cx:pt idx="633">99.290322580645167</cx:pt>
          <cx:pt idx="634">99.032258064516128</cx:pt>
          <cx:pt idx="635">99.193548387096769</cx:pt>
          <cx:pt idx="636">99.451612903225808</cx:pt>
          <cx:pt idx="637">99.387096774193552</cx:pt>
          <cx:pt idx="638">99.290322580645167</cx:pt>
          <cx:pt idx="639">99.41935483870968</cx:pt>
          <cx:pt idx="640">99.354838709677423</cx:pt>
          <cx:pt idx="641">99.193548387096769</cx:pt>
          <cx:pt idx="642">98.967741935483872</cx:pt>
          <cx:pt idx="643">99.290322580645167</cx:pt>
          <cx:pt idx="644">99.290322580645167</cx:pt>
          <cx:pt idx="645">99.322580645161295</cx:pt>
          <cx:pt idx="646">99.483870967741936</cx:pt>
          <cx:pt idx="647">99.516129032258064</cx:pt>
          <cx:pt idx="648">99.612903225806448</cx:pt>
          <cx:pt idx="649">99.032258064516128</cx:pt>
          <cx:pt idx="650">98.58064516129032</cx:pt>
          <cx:pt idx="651">98.322580645161295</cx:pt>
          <cx:pt idx="652">97.870967741935488</cx:pt>
          <cx:pt idx="653">97.258064516129039</cx:pt>
          <cx:pt idx="654">97.225806451612897</cx:pt>
          <cx:pt idx="655">96.709677419354833</cx:pt>
          <cx:pt idx="656">96.258064516129039</cx:pt>
          <cx:pt idx="657">95.709677419354833</cx:pt>
          <cx:pt idx="658">95.258064516129039</cx:pt>
          <cx:pt idx="659">94.58064516129032</cx:pt>
          <cx:pt idx="660">94.032258064516128</cx:pt>
          <cx:pt idx="661">93.935483870967744</cx:pt>
          <cx:pt idx="662">93.58064516129032</cx:pt>
          <cx:pt idx="663">93.354838709677423</cx:pt>
          <cx:pt idx="664">93.516129032258064</cx:pt>
          <cx:pt idx="665">93.451612903225808</cx:pt>
          <cx:pt idx="666">93.032258064516128</cx:pt>
          <cx:pt idx="667">92.774193548387103</cx:pt>
          <cx:pt idx="668">92.387096774193552</cx:pt>
          <cx:pt idx="669">92</cx:pt>
          <cx:pt idx="670">91.612903225806448</cx:pt>
          <cx:pt idx="671">91.645161290322577</cx:pt>
          <cx:pt idx="672">91.322580645161295</cx:pt>
          <cx:pt idx="673">91.032258064516128</cx:pt>
          <cx:pt idx="674">90.387096774193552</cx:pt>
          <cx:pt idx="675">90.354838709677423</cx:pt>
          <cx:pt idx="676">90.225806451612897</cx:pt>
          <cx:pt idx="677">90.032258064516128</cx:pt>
          <cx:pt idx="678">90</cx:pt>
          <cx:pt idx="679">89.838709677419359</cx:pt>
          <cx:pt idx="680">90.032258064516128</cx:pt>
          <cx:pt idx="681">90.322580645161295</cx:pt>
          <cx:pt idx="682">90.193548387096769</cx:pt>
          <cx:pt idx="683">90.548387096774192</cx:pt>
          <cx:pt idx="684">90.548387096774192</cx:pt>
          <cx:pt idx="685">90.096774193548384</cx:pt>
          <cx:pt idx="686">90.645161290322577</cx:pt>
          <cx:pt idx="687">90.612903225806448</cx:pt>
          <cx:pt idx="688">90.838709677419359</cx:pt>
          <cx:pt idx="689">90.806451612903231</cx:pt>
          <cx:pt idx="690">91.064516129032256</cx:pt>
          <cx:pt idx="691">91.258064516129039</cx:pt>
          <cx:pt idx="692">91.096774193548384</cx:pt>
          <cx:pt idx="693">90.838709677419359</cx:pt>
          <cx:pt idx="694">90.870967741935488</cx:pt>
          <cx:pt idx="695">90.741935483870961</cx:pt>
          <cx:pt idx="696">90.967741935483872</cx:pt>
          <cx:pt idx="697">90.838709677419359</cx:pt>
          <cx:pt idx="698">90.838709677419359</cx:pt>
          <cx:pt idx="699">91.258064516129039</cx:pt>
          <cx:pt idx="700">91.290322580645167</cx:pt>
          <cx:pt idx="701">90.967741935483872</cx:pt>
          <cx:pt idx="702">90.677419354838705</cx:pt>
          <cx:pt idx="703">90.645161290322577</cx:pt>
          <cx:pt idx="704">90.451612903225808</cx:pt>
          <cx:pt idx="705">90.548387096774192</cx:pt>
          <cx:pt idx="706">90.032258064516128</cx:pt>
          <cx:pt idx="707">89.838709677419359</cx:pt>
          <cx:pt idx="708">89.516129032258064</cx:pt>
          <cx:pt idx="709">89.064516129032256</cx:pt>
          <cx:pt idx="710">89.193548387096769</cx:pt>
          <cx:pt idx="711">89.225806451612897</cx:pt>
          <cx:pt idx="712">88.838709677419359</cx:pt>
          <cx:pt idx="713">88.935483870967744</cx:pt>
          <cx:pt idx="714">88.548387096774192</cx:pt>
          <cx:pt idx="715">88.645161290322577</cx:pt>
          <cx:pt idx="716">88.516129032258064</cx:pt>
          <cx:pt idx="717">88.322580645161295</cx:pt>
          <cx:pt idx="718">88.161290322580641</cx:pt>
          <cx:pt idx="719">87.741935483870961</cx:pt>
          <cx:pt idx="720">87.870967741935488</cx:pt>
          <cx:pt idx="721">88.096774193548384</cx:pt>
          <cx:pt idx="722">88.096774193548384</cx:pt>
          <cx:pt idx="723">88.129032258064512</cx:pt>
          <cx:pt idx="724">88.322580645161295</cx:pt>
          <cx:pt idx="725">88.58064516129032</cx:pt>
          <cx:pt idx="726">88.290322580645167</cx:pt>
          <cx:pt idx="727">87.903225806451616</cx:pt>
          <cx:pt idx="728">87.935483870967744</cx:pt>
          <cx:pt idx="729">88.032258064516128</cx:pt>
          <cx:pt idx="730">87.709677419354833</cx:pt>
          <cx:pt idx="731">87.645161290322577</cx:pt>
          <cx:pt idx="732">87.806451612903231</cx:pt>
          <cx:pt idx="733">87.645161290322577</cx:pt>
          <cx:pt idx="734">87.58064516129032</cx:pt>
          <cx:pt idx="735">87.645161290322577</cx:pt>
          <cx:pt idx="736">87.41935483870968</cx:pt>
          <cx:pt idx="737">87.838709677419359</cx:pt>
          <cx:pt idx="738">88</cx:pt>
          <cx:pt idx="739">88</cx:pt>
          <cx:pt idx="740">88</cx:pt>
          <cx:pt idx="741">87.58064516129032</cx:pt>
          <cx:pt idx="742">87.612903225806448</cx:pt>
          <cx:pt idx="743">88.064516129032256</cx:pt>
          <cx:pt idx="744">88</cx:pt>
          <cx:pt idx="745">88.387096774193552</cx:pt>
          <cx:pt idx="746">88.935483870967744</cx:pt>
          <cx:pt idx="747">89.129032258064512</cx:pt>
          <cx:pt idx="748">89</cx:pt>
          <cx:pt idx="749">89.451612903225808</cx:pt>
          <cx:pt idx="750">89.41935483870968</cx:pt>
          <cx:pt idx="751">89.677419354838705</cx:pt>
          <cx:pt idx="752">89.354838709677423</cx:pt>
          <cx:pt idx="753">89.354838709677423</cx:pt>
          <cx:pt idx="754">89.129032258064512</cx:pt>
          <cx:pt idx="755">89.387096774193552</cx:pt>
          <cx:pt idx="756">89.290322580645167</cx:pt>
          <cx:pt idx="757">89.387096774193552</cx:pt>
          <cx:pt idx="758">89.161290322580641</cx:pt>
          <cx:pt idx="759">89</cx:pt>
          <cx:pt idx="760">88.516129032258064</cx:pt>
          <cx:pt idx="761">88.548387096774192</cx:pt>
          <cx:pt idx="762">88.741935483870961</cx:pt>
          <cx:pt idx="763">89</cx:pt>
          <cx:pt idx="764">89.322580645161295</cx:pt>
          <cx:pt idx="765">89.645161290322577</cx:pt>
          <cx:pt idx="766">89.903225806451616</cx:pt>
          <cx:pt idx="767">90.064516129032256</cx:pt>
          <cx:pt idx="768">89.741935483870961</cx:pt>
          <cx:pt idx="769">89.322580645161295</cx:pt>
          <cx:pt idx="770">89.193548387096769</cx:pt>
          <cx:pt idx="771">89.645161290322577</cx:pt>
          <cx:pt idx="772">90.064516129032256</cx:pt>
          <cx:pt idx="773">90.193548387096769</cx:pt>
          <cx:pt idx="774">89.838709677419359</cx:pt>
          <cx:pt idx="775">89.903225806451616</cx:pt>
          <cx:pt idx="776">90.064516129032256</cx:pt>
          <cx:pt idx="777">89.870967741935488</cx:pt>
          <cx:pt idx="778">90.161290322580641</cx:pt>
          <cx:pt idx="779">90.032258064516128</cx:pt>
          <cx:pt idx="780">89.677419354838705</cx:pt>
          <cx:pt idx="781">90.258064516129039</cx:pt>
          <cx:pt idx="782">90</cx:pt>
          <cx:pt idx="783">89.806451612903231</cx:pt>
          <cx:pt idx="784">89.806451612903231</cx:pt>
          <cx:pt idx="785">89.741935483870961</cx:pt>
          <cx:pt idx="786">89.483870967741936</cx:pt>
          <cx:pt idx="787">89.612903225806448</cx:pt>
          <cx:pt idx="788">89.677419354838705</cx:pt>
          <cx:pt idx="789">90</cx:pt>
          <cx:pt idx="790">90.193548387096769</cx:pt>
          <cx:pt idx="791">90.290322580645167</cx:pt>
          <cx:pt idx="792">90</cx:pt>
          <cx:pt idx="793">90.225806451612897</cx:pt>
          <cx:pt idx="794">90.193548387096769</cx:pt>
          <cx:pt idx="795">90.032258064516128</cx:pt>
          <cx:pt idx="796">90.129032258064512</cx:pt>
          <cx:pt idx="797">89.903225806451616</cx:pt>
          <cx:pt idx="798">90.129032258064512</cx:pt>
          <cx:pt idx="799">90.258064516129039</cx:pt>
          <cx:pt idx="800">90.548387096774192</cx:pt>
          <cx:pt idx="801">90.709677419354833</cx:pt>
          <cx:pt idx="802">90.645161290322577</cx:pt>
          <cx:pt idx="803">90.612903225806448</cx:pt>
          <cx:pt idx="804">90.258064516129039</cx:pt>
          <cx:pt idx="805">90.483870967741936</cx:pt>
          <cx:pt idx="806">90.129032258064512</cx:pt>
          <cx:pt idx="807">89.935483870967744</cx:pt>
          <cx:pt idx="808">89.612903225806448</cx:pt>
          <cx:pt idx="809">89.516129032258064</cx:pt>
          <cx:pt idx="810">89.741935483870961</cx:pt>
          <cx:pt idx="811">89.741935483870961</cx:pt>
          <cx:pt idx="812">89.774193548387103</cx:pt>
          <cx:pt idx="813">89.58064516129032</cx:pt>
          <cx:pt idx="814">90</cx:pt>
          <cx:pt idx="815">90.258064516129039</cx:pt>
          <cx:pt idx="816">90.41935483870968</cx:pt>
          <cx:pt idx="817">90.354838709677423</cx:pt>
          <cx:pt idx="818">89.903225806451616</cx:pt>
          <cx:pt idx="819">89.774193548387103</cx:pt>
          <cx:pt idx="820">89.451612903225808</cx:pt>
          <cx:pt idx="821">89.645161290322577</cx:pt>
          <cx:pt idx="822">89.58064516129032</cx:pt>
          <cx:pt idx="823">90.129032258064512</cx:pt>
          <cx:pt idx="824">89.548387096774192</cx:pt>
          <cx:pt idx="825">89.58064516129032</cx:pt>
          <cx:pt idx="826">89.903225806451616</cx:pt>
          <cx:pt idx="827">89.516129032258064</cx:pt>
          <cx:pt idx="828">89.516129032258064</cx:pt>
          <cx:pt idx="829">89.41935483870968</cx:pt>
          <cx:pt idx="830">89.741935483870961</cx:pt>
          <cx:pt idx="831">89.774193548387103</cx:pt>
          <cx:pt idx="832">89.645161290322577</cx:pt>
          <cx:pt idx="833">89.41935483870968</cx:pt>
          <cx:pt idx="834">89</cx:pt>
          <cx:pt idx="835">89.161290322580641</cx:pt>
          <cx:pt idx="836">89.161290322580641</cx:pt>
          <cx:pt idx="837">89.451612903225808</cx:pt>
          <cx:pt idx="838">89.483870967741936</cx:pt>
          <cx:pt idx="839">89.838709677419359</cx:pt>
          <cx:pt idx="840">89.741935483870961</cx:pt>
          <cx:pt idx="841">89.838709677419359</cx:pt>
          <cx:pt idx="842">89.903225806451616</cx:pt>
          <cx:pt idx="843">89.709677419354833</cx:pt>
          <cx:pt idx="844">89.967741935483872</cx:pt>
          <cx:pt idx="845">90</cx:pt>
          <cx:pt idx="846">89.935483870967744</cx:pt>
          <cx:pt idx="847">89.838709677419359</cx:pt>
          <cx:pt idx="848">90.129032258064512</cx:pt>
          <cx:pt idx="849">90.58064516129032</cx:pt>
          <cx:pt idx="850">90.41935483870968</cx:pt>
          <cx:pt idx="851">90.774193548387103</cx:pt>
          <cx:pt idx="852">90.677419354838705</cx:pt>
          <cx:pt idx="853">90.935483870967744</cx:pt>
          <cx:pt idx="854">90.870967741935488</cx:pt>
          <cx:pt idx="855">91.032258064516128</cx:pt>
          <cx:pt idx="856">90.870967741935488</cx:pt>
          <cx:pt idx="857">90.774193548387103</cx:pt>
          <cx:pt idx="858">90.774193548387103</cx:pt>
          <cx:pt idx="859">91.225806451612897</cx:pt>
          <cx:pt idx="860">91.451612903225808</cx:pt>
          <cx:pt idx="861">91.129032258064512</cx:pt>
          <cx:pt idx="862">91.032258064516128</cx:pt>
          <cx:pt idx="863">91.483870967741936</cx:pt>
          <cx:pt idx="864">91.58064516129032</cx:pt>
          <cx:pt idx="865">92.096774193548384</cx:pt>
          <cx:pt idx="866">92.258064516129039</cx:pt>
          <cx:pt idx="867">91.903225806451616</cx:pt>
          <cx:pt idx="868">92</cx:pt>
          <cx:pt idx="869">92</cx:pt>
          <cx:pt idx="870">91.677419354838705</cx:pt>
          <cx:pt idx="871">91.354838709677423</cx:pt>
          <cx:pt idx="872">91.322580645161295</cx:pt>
          <cx:pt idx="873">91.483870967741936</cx:pt>
          <cx:pt idx="874">91.41935483870968</cx:pt>
          <cx:pt idx="875">91.096774193548384</cx:pt>
          <cx:pt idx="876">90.709677419354833</cx:pt>
          <cx:pt idx="877">90.290322580645167</cx:pt>
          <cx:pt idx="878">90.645161290322577</cx:pt>
          <cx:pt idx="879">90.41935483870968</cx:pt>
          <cx:pt idx="880">89.903225806451616</cx:pt>
          <cx:pt idx="881">90.161290322580641</cx:pt>
          <cx:pt idx="882">90</cx:pt>
          <cx:pt idx="883">89.806451612903231</cx:pt>
          <cx:pt idx="884">89.41935483870968</cx:pt>
          <cx:pt idx="885">88.935483870967744</cx:pt>
          <cx:pt idx="886">89.41935483870968</cx:pt>
          <cx:pt idx="887">89.548387096774192</cx:pt>
          <cx:pt idx="888">89.258064516129039</cx:pt>
          <cx:pt idx="889">89.709677419354833</cx:pt>
          <cx:pt idx="890">89.709677419354833</cx:pt>
          <cx:pt idx="891">89.612903225806448</cx:pt>
          <cx:pt idx="892">89.41935483870968</cx:pt>
          <cx:pt idx="893">89.387096774193552</cx:pt>
          <cx:pt idx="894">88.903225806451616</cx:pt>
          <cx:pt idx="895">89.064516129032256</cx:pt>
          <cx:pt idx="896">88.967741935483872</cx:pt>
          <cx:pt idx="897">88.741935483870961</cx:pt>
          <cx:pt idx="898">88.903225806451616</cx:pt>
          <cx:pt idx="899">88.58064516129032</cx:pt>
          <cx:pt idx="900">88.548387096774192</cx:pt>
          <cx:pt idx="901">88.387096774193552</cx:pt>
          <cx:pt idx="902">89</cx:pt>
          <cx:pt idx="903">89.032258064516128</cx:pt>
          <cx:pt idx="904">89.161290322580641</cx:pt>
          <cx:pt idx="905">89.129032258064512</cx:pt>
          <cx:pt idx="906">89.58064516129032</cx:pt>
          <cx:pt idx="907">89.935483870967744</cx:pt>
          <cx:pt idx="908">90.354838709677423</cx:pt>
          <cx:pt idx="909">90.096774193548384</cx:pt>
          <cx:pt idx="910">89.967741935483872</cx:pt>
          <cx:pt idx="911">89.935483870967744</cx:pt>
          <cx:pt idx="912">89.967741935483872</cx:pt>
          <cx:pt idx="913">90.064516129032256</cx:pt>
          <cx:pt idx="914">90.41935483870968</cx:pt>
          <cx:pt idx="915">90.451612903225808</cx:pt>
          <cx:pt idx="916">90.806451612903231</cx:pt>
          <cx:pt idx="917">90.161290322580641</cx:pt>
          <cx:pt idx="918">89.967741935483872</cx:pt>
          <cx:pt idx="919">90.129032258064512</cx:pt>
          <cx:pt idx="920">89.806451612903231</cx:pt>
          <cx:pt idx="921">89.354838709677423</cx:pt>
          <cx:pt idx="922">89.258064516129039</cx:pt>
          <cx:pt idx="923">89.193548387096769</cx:pt>
          <cx:pt idx="924">89.225806451612897</cx:pt>
          <cx:pt idx="925">89.258064516129039</cx:pt>
          <cx:pt idx="926">88.838709677419359</cx:pt>
          <cx:pt idx="927">88.774193548387103</cx:pt>
          <cx:pt idx="928">88.806451612903231</cx:pt>
          <cx:pt idx="929">88.548387096774192</cx:pt>
          <cx:pt idx="930">88.870967741935488</cx:pt>
          <cx:pt idx="931">89.032258064516128</cx:pt>
          <cx:pt idx="932">89.258064516129039</cx:pt>
          <cx:pt idx="933">89.161290322580641</cx:pt>
          <cx:pt idx="934">89</cx:pt>
          <cx:pt idx="935">88.548387096774192</cx:pt>
          <cx:pt idx="936">88.645161290322577</cx:pt>
          <cx:pt idx="937">88.322580645161295</cx:pt>
          <cx:pt idx="938">88.483870967741936</cx:pt>
          <cx:pt idx="939">88.58064516129032</cx:pt>
          <cx:pt idx="940">88.645161290322577</cx:pt>
          <cx:pt idx="941">89.032258064516128</cx:pt>
          <cx:pt idx="942">89.193548387096769</cx:pt>
          <cx:pt idx="943">89.161290322580641</cx:pt>
          <cx:pt idx="944">88.967741935483872</cx:pt>
          <cx:pt idx="945">88.677419354838705</cx:pt>
          <cx:pt idx="946">89.193548387096769</cx:pt>
          <cx:pt idx="947">89</cx:pt>
          <cx:pt idx="948">89.451612903225808</cx:pt>
          <cx:pt idx="949">89.612903225806448</cx:pt>
          <cx:pt idx="950">89.483870967741936</cx:pt>
          <cx:pt idx="951">89.258064516129039</cx:pt>
          <cx:pt idx="952">89.225806451612897</cx:pt>
          <cx:pt idx="953">89.290322580645167</cx:pt>
          <cx:pt idx="954">89.870967741935488</cx:pt>
          <cx:pt idx="955">89.677419354838705</cx:pt>
          <cx:pt idx="956">90</cx:pt>
          <cx:pt idx="957">90.225806451612897</cx:pt>
          <cx:pt idx="958">89.935483870967744</cx:pt>
          <cx:pt idx="959">90.161290322580641</cx:pt>
          <cx:pt idx="960">90.774193548387103</cx:pt>
          <cx:pt idx="961">90.677419354838705</cx:pt>
          <cx:pt idx="962">90.548387096774192</cx:pt>
          <cx:pt idx="963">90.677419354838705</cx:pt>
          <cx:pt idx="964">90.645161290322577</cx:pt>
          <cx:pt idx="965">90.838709677419359</cx:pt>
          <cx:pt idx="966">91.064516129032256</cx:pt>
          <cx:pt idx="967">90.935483870967744</cx:pt>
          <cx:pt idx="968">90.903225806451616</cx:pt>
          <cx:pt idx="969">90.290322580645167</cx:pt>
          <cx:pt idx="970">89.903225806451616</cx:pt>
          <cx:pt idx="971">90.258064516129039</cx:pt>
          <cx:pt idx="972">89.741935483870961</cx:pt>
          <cx:pt idx="973">89.774193548387103</cx:pt>
          <cx:pt idx="974">89.935483870967744</cx:pt>
          <cx:pt idx="975">89.967741935483872</cx:pt>
          <cx:pt idx="976">90.032258064516128</cx:pt>
          <cx:pt idx="977">89.645161290322577</cx:pt>
          <cx:pt idx="978">89.935483870967744</cx:pt>
          <cx:pt idx="979">89.548387096774192</cx:pt>
          <cx:pt idx="980">89.258064516129039</cx:pt>
          <cx:pt idx="981">89.548387096774192</cx:pt>
          <cx:pt idx="982">90.129032258064512</cx:pt>
          <cx:pt idx="983">90.548387096774192</cx:pt>
          <cx:pt idx="984">90.258064516129039</cx:pt>
          <cx:pt idx="985">89.806451612903231</cx:pt>
          <cx:pt idx="986">89.838709677419359</cx:pt>
          <cx:pt idx="987">90.064516129032256</cx:pt>
          <cx:pt idx="988">89.870967741935488</cx:pt>
          <cx:pt idx="989">90.161290322580641</cx:pt>
          <cx:pt idx="990">90.129032258064512</cx:pt>
          <cx:pt idx="991">89.838709677419359</cx:pt>
          <cx:pt idx="992">89.645161290322577</cx:pt>
          <cx:pt idx="993">89.645161290322577</cx:pt>
          <cx:pt idx="994">89.612903225806448</cx:pt>
          <cx:pt idx="995">89.645161290322577</cx:pt>
          <cx:pt idx="996">89.709677419354833</cx:pt>
          <cx:pt idx="997">89.645161290322577</cx:pt>
          <cx:pt idx="998">89.774193548387103</cx:pt>
          <cx:pt idx="999">90.032258064516128</cx:pt>
          <cx:pt idx="1000">90.387096774193552</cx:pt>
          <cx:pt idx="1001">90.387096774193552</cx:pt>
          <cx:pt idx="1002">90.225806451612897</cx:pt>
          <cx:pt idx="1003">90.741935483870961</cx:pt>
          <cx:pt idx="1004">91</cx:pt>
          <cx:pt idx="1005">90.677419354838705</cx:pt>
          <cx:pt idx="1006">90.967741935483872</cx:pt>
          <cx:pt idx="1007">90.677419354838705</cx:pt>
          <cx:pt idx="1008">90.935483870967744</cx:pt>
          <cx:pt idx="1009">91.064516129032256</cx:pt>
          <cx:pt idx="1010">91.193548387096769</cx:pt>
          <cx:pt idx="1011">91.225806451612897</cx:pt>
          <cx:pt idx="1012">91.225806451612897</cx:pt>
          <cx:pt idx="1013">91.225806451612897</cx:pt>
          <cx:pt idx="1014">91.096774193548384</cx:pt>
          <cx:pt idx="1015">91.612903225806448</cx:pt>
          <cx:pt idx="1016">91.516129032258064</cx:pt>
          <cx:pt idx="1017">91.548387096774192</cx:pt>
          <cx:pt idx="1018">91.387096774193552</cx:pt>
          <cx:pt idx="1019">91.645161290322577</cx:pt>
          <cx:pt idx="1020">91.677419354838705</cx:pt>
          <cx:pt idx="1021">91.870967741935488</cx:pt>
          <cx:pt idx="1022">92.032258064516128</cx:pt>
          <cx:pt idx="1023">92.483870967741936</cx:pt>
          <cx:pt idx="1024">92.548387096774192</cx:pt>
          <cx:pt idx="1025">92.516129032258064</cx:pt>
          <cx:pt idx="1026">92.064516129032256</cx:pt>
          <cx:pt idx="1027">91.838709677419359</cx:pt>
          <cx:pt idx="1028">91.903225806451616</cx:pt>
          <cx:pt idx="1029">91.870967741935488</cx:pt>
          <cx:pt idx="1030">91.645161290322577</cx:pt>
          <cx:pt idx="1031">91.41935483870968</cx:pt>
          <cx:pt idx="1032">91.709677419354833</cx:pt>
          <cx:pt idx="1033">91.451612903225808</cx:pt>
          <cx:pt idx="1034">91.258064516129039</cx:pt>
          <cx:pt idx="1035">91.129032258064512</cx:pt>
          <cx:pt idx="1036">91.064516129032256</cx:pt>
          <cx:pt idx="1037">91.032258064516128</cx:pt>
          <cx:pt idx="1038">91.193548387096769</cx:pt>
          <cx:pt idx="1039">91.193548387096769</cx:pt>
          <cx:pt idx="1040">91.290322580645167</cx:pt>
          <cx:pt idx="1041">91.645161290322577</cx:pt>
          <cx:pt idx="1042">92.129032258064512</cx:pt>
          <cx:pt idx="1043">92.225806451612897</cx:pt>
          <cx:pt idx="1044">92.161290322580641</cx:pt>
          <cx:pt idx="1045">92.354838709677423</cx:pt>
          <cx:pt idx="1046">92.354838709677423</cx:pt>
          <cx:pt idx="1047">92.806451612903231</cx:pt>
          <cx:pt idx="1048">93.193548387096769</cx:pt>
          <cx:pt idx="1049">93.548387096774192</cx:pt>
          <cx:pt idx="1050">93.838709677419359</cx:pt>
          <cx:pt idx="1051">94.064516129032256</cx:pt>
          <cx:pt idx="1052">94.193548387096769</cx:pt>
          <cx:pt idx="1053">94.451612903225808</cx:pt>
          <cx:pt idx="1054">94.483870967741936</cx:pt>
          <cx:pt idx="1055">94.774193548387103</cx:pt>
          <cx:pt idx="1056">95.193548387096769</cx:pt>
          <cx:pt idx="1057">95.806451612903231</cx:pt>
          <cx:pt idx="1058">95.935483870967744</cx:pt>
          <cx:pt idx="1059">96.193548387096769</cx:pt>
          <cx:pt idx="1060">96.354838709677423</cx:pt>
          <cx:pt idx="1061">96.709677419354833</cx:pt>
          <cx:pt idx="1062">97.193548387096769</cx:pt>
          <cx:pt idx="1063">97.354838709677423</cx:pt>
          <cx:pt idx="1064">97.838709677419359</cx:pt>
          <cx:pt idx="1065">98.096774193548384</cx:pt>
          <cx:pt idx="1066">98.451612903225808</cx:pt>
          <cx:pt idx="1067">98.903225806451616</cx:pt>
          <cx:pt idx="1068">99.258064516129039</cx:pt>
          <cx:pt idx="1069">99.870967741935488</cx:pt>
          <cx:pt idx="1070">100.16129032258064</cx:pt>
          <cx:pt idx="1071">100.16129032258064</cx:pt>
          <cx:pt idx="1072">100.12903225806451</cx:pt>
          <cx:pt idx="1073">100.35483870967742</cx:pt>
          <cx:pt idx="1074">100.51612903225806</cx:pt>
          <cx:pt idx="1075">100.41935483870968</cx:pt>
          <cx:pt idx="1076">100.45161290322581</cx:pt>
          <cx:pt idx="1077">100.41935483870968</cx:pt>
          <cx:pt idx="1078">100.64516129032258</cx:pt>
          <cx:pt idx="1079">100.74193548387096</cx:pt>
          <cx:pt idx="1080">100.48387096774194</cx:pt>
          <cx:pt idx="1081">100.64516129032258</cx:pt>
          <cx:pt idx="1082">100.74193548387096</cx:pt>
          <cx:pt idx="1083">100.61290322580645</cx:pt>
          <cx:pt idx="1084">100.45161290322581</cx:pt>
          <cx:pt idx="1085">100.54838709677419</cx:pt>
          <cx:pt idx="1086">100.51612903225806</cx:pt>
          <cx:pt idx="1087">100.58064516129032</cx:pt>
          <cx:pt idx="1088">100.45161290322581</cx:pt>
          <cx:pt idx="1089">100.61290322580645</cx:pt>
          <cx:pt idx="1090">100.74193548387096</cx:pt>
          <cx:pt idx="1091">100.80645161290323</cx:pt>
          <cx:pt idx="1092">100.93548387096774</cx:pt>
          <cx:pt idx="1093">100.96774193548387</cx:pt>
          <cx:pt idx="1094">101.06451612903226</cx:pt>
          <cx:pt idx="1095">101</cx:pt>
          <cx:pt idx="1096">100.70967741935483</cx:pt>
          <cx:pt idx="1097">100.35483870967742</cx:pt>
          <cx:pt idx="1098">100.19354838709677</cx:pt>
          <cx:pt idx="1099">99.967741935483872</cx:pt>
          <cx:pt idx="1100">99.483870967741936</cx:pt>
          <cx:pt idx="1101">99.193548387096769</cx:pt>
          <cx:pt idx="1102">98.935483870967744</cx:pt>
          <cx:pt idx="1103">98.967741935483872</cx:pt>
          <cx:pt idx="1104">98.741935483870961</cx:pt>
          <cx:pt idx="1105">98</cx:pt>
          <cx:pt idx="1106">97.612903225806448</cx:pt>
          <cx:pt idx="1107">97.129032258064512</cx:pt>
          <cx:pt idx="1108">97</cx:pt>
          <cx:pt idx="1109">96.516129032258064</cx:pt>
          <cx:pt idx="1110">96.354838709677423</cx:pt>
          <cx:pt idx="1111">96.258064516129039</cx:pt>
          <cx:pt idx="1112">95.838709677419359</cx:pt>
          <cx:pt idx="1113">95.41935483870968</cx:pt>
          <cx:pt idx="1114">95.258064516129039</cx:pt>
          <cx:pt idx="1115">94.774193548387103</cx:pt>
          <cx:pt idx="1116">94.387096774193552</cx:pt>
          <cx:pt idx="1117">94.032258064516128</cx:pt>
          <cx:pt idx="1118">93.258064516129039</cx:pt>
          <cx:pt idx="1119">93.258064516129039</cx:pt>
          <cx:pt idx="1120">93.258064516129039</cx:pt>
          <cx:pt idx="1121">92.870967741935488</cx:pt>
          <cx:pt idx="1122">92.516129032258064</cx:pt>
          <cx:pt idx="1123">91.870967741935488</cx:pt>
          <cx:pt idx="1124">91.41935483870968</cx:pt>
          <cx:pt idx="1125">91.290322580645167</cx:pt>
          <cx:pt idx="1126">90.806451612903231</cx:pt>
          <cx:pt idx="1127">90.58064516129032</cx:pt>
          <cx:pt idx="1128">90.41935483870968</cx:pt>
          <cx:pt idx="1129">90</cx:pt>
          <cx:pt idx="1130">89.451612903225808</cx:pt>
          <cx:pt idx="1131">89.774193548387103</cx:pt>
          <cx:pt idx="1132">89.451612903225808</cx:pt>
          <cx:pt idx="1133">89.193548387096769</cx:pt>
          <cx:pt idx="1134">88.935483870967744</cx:pt>
          <cx:pt idx="1135">89</cx:pt>
          <cx:pt idx="1136">89.548387096774192</cx:pt>
          <cx:pt idx="1137">89.935483870967744</cx:pt>
          <cx:pt idx="1138">89.741935483870961</cx:pt>
          <cx:pt idx="1139">89.354838709677423</cx:pt>
          <cx:pt idx="1140">89.483870967741936</cx:pt>
          <cx:pt idx="1141">89.451612903225808</cx:pt>
          <cx:pt idx="1142">89.322580645161295</cx:pt>
          <cx:pt idx="1143">89.483870967741936</cx:pt>
          <cx:pt idx="1144">89.096774193548384</cx:pt>
          <cx:pt idx="1145">88.709677419354833</cx:pt>
          <cx:pt idx="1146">89.129032258064512</cx:pt>
          <cx:pt idx="1147">89.41935483870968</cx:pt>
          <cx:pt idx="1148">89.677419354838705</cx:pt>
          <cx:pt idx="1149">89.838709677419359</cx:pt>
          <cx:pt idx="1150">89.741935483870961</cx:pt>
          <cx:pt idx="1151">89.516129032258064</cx:pt>
          <cx:pt idx="1152">89.161290322580641</cx:pt>
          <cx:pt idx="1153">89.193548387096769</cx:pt>
          <cx:pt idx="1154">89.709677419354833</cx:pt>
          <cx:pt idx="1155">89.516129032258064</cx:pt>
          <cx:pt idx="1156">89.548387096774192</cx:pt>
          <cx:pt idx="1157">90.032258064516128</cx:pt>
          <cx:pt idx="1158">90.483870967741936</cx:pt>
          <cx:pt idx="1159">90.354838709677423</cx:pt>
          <cx:pt idx="1160">90.387096774193552</cx:pt>
          <cx:pt idx="1161">90.806451612903231</cx:pt>
          <cx:pt idx="1162">90.41935483870968</cx:pt>
          <cx:pt idx="1163">90.677419354838705</cx:pt>
          <cx:pt idx="1164">90.58064516129032</cx:pt>
          <cx:pt idx="1165">90.709677419354833</cx:pt>
          <cx:pt idx="1166">90.096774193548384</cx:pt>
          <cx:pt idx="1167">89.612903225806448</cx:pt>
          <cx:pt idx="1168">89.483870967741936</cx:pt>
          <cx:pt idx="1169">89.612903225806448</cx:pt>
          <cx:pt idx="1170">89.870967741935488</cx:pt>
          <cx:pt idx="1171">89.612903225806448</cx:pt>
          <cx:pt idx="1172">89.225806451612897</cx:pt>
          <cx:pt idx="1173">89.322580645161295</cx:pt>
          <cx:pt idx="1174">89.290322580645167</cx:pt>
          <cx:pt idx="1175">89.387096774193552</cx:pt>
          <cx:pt idx="1176">89.548387096774192</cx:pt>
          <cx:pt idx="1177">89.225806451612897</cx:pt>
          <cx:pt idx="1178">88.838709677419359</cx:pt>
          <cx:pt idx="1179">88.548387096774192</cx:pt>
          <cx:pt idx="1180">88.806451612903231</cx:pt>
          <cx:pt idx="1181">88.548387096774192</cx:pt>
          <cx:pt idx="1182">88.387096774193552</cx:pt>
          <cx:pt idx="1183">88.451612903225808</cx:pt>
          <cx:pt idx="1184">88.483870967741936</cx:pt>
          <cx:pt idx="1185">87.935483870967744</cx:pt>
          <cx:pt idx="1186">88.225806451612897</cx:pt>
          <cx:pt idx="1187">88.225806451612897</cx:pt>
          <cx:pt idx="1188">88.161290322580641</cx:pt>
          <cx:pt idx="1189">87.741935483870961</cx:pt>
          <cx:pt idx="1190">88</cx:pt>
          <cx:pt idx="1191">88.451612903225808</cx:pt>
          <cx:pt idx="1192">88.645161290322577</cx:pt>
          <cx:pt idx="1193">89</cx:pt>
          <cx:pt idx="1194">88.967741935483872</cx:pt>
          <cx:pt idx="1195">89.258064516129039</cx:pt>
          <cx:pt idx="1196">89.258064516129039</cx:pt>
          <cx:pt idx="1197">89.225806451612897</cx:pt>
          <cx:pt idx="1198">89.258064516129039</cx:pt>
          <cx:pt idx="1199">89</cx:pt>
          <cx:pt idx="1200">89</cx:pt>
          <cx:pt idx="1201">88.677419354838705</cx:pt>
          <cx:pt idx="1202">89.096774193548384</cx:pt>
          <cx:pt idx="1203">89.41935483870968</cx:pt>
          <cx:pt idx="1204">89.032258064516128</cx:pt>
          <cx:pt idx="1205">88.903225806451616</cx:pt>
          <cx:pt idx="1206">89.161290322580641</cx:pt>
          <cx:pt idx="1207">89.483870967741936</cx:pt>
          <cx:pt idx="1208">89.322580645161295</cx:pt>
          <cx:pt idx="1209">89.354838709677423</cx:pt>
          <cx:pt idx="1210">89.645161290322577</cx:pt>
          <cx:pt idx="1211">89.225806451612897</cx:pt>
          <cx:pt idx="1212">89.225806451612897</cx:pt>
          <cx:pt idx="1213">89.129032258064512</cx:pt>
          <cx:pt idx="1214">89.483870967741936</cx:pt>
          <cx:pt idx="1215">89.387096774193552</cx:pt>
          <cx:pt idx="1216">89.870967741935488</cx:pt>
          <cx:pt idx="1217">89.677419354838705</cx:pt>
          <cx:pt idx="1218">89.516129032258064</cx:pt>
          <cx:pt idx="1219">89.548387096774192</cx:pt>
          <cx:pt idx="1220">90.032258064516128</cx:pt>
          <cx:pt idx="1221">89.741935483870961</cx:pt>
          <cx:pt idx="1222">89.258064516129039</cx:pt>
          <cx:pt idx="1223">88.645161290322577</cx:pt>
          <cx:pt idx="1224">88.451612903225808</cx:pt>
          <cx:pt idx="1225">88.709677419354833</cx:pt>
          <cx:pt idx="1226">88.387096774193552</cx:pt>
          <cx:pt idx="1227">88.387096774193552</cx:pt>
          <cx:pt idx="1228">88.903225806451616</cx:pt>
          <cx:pt idx="1229">89.193548387096769</cx:pt>
          <cx:pt idx="1230">89.548387096774192</cx:pt>
          <cx:pt idx="1231">90.032258064516128</cx:pt>
          <cx:pt idx="1232">90.806451612903231</cx:pt>
          <cx:pt idx="1233">91.032258064516128</cx:pt>
          <cx:pt idx="1234">91.193548387096769</cx:pt>
          <cx:pt idx="1235">91.838709677419359</cx:pt>
          <cx:pt idx="1236">92.064516129032256</cx:pt>
          <cx:pt idx="1237">92.322580645161295</cx:pt>
          <cx:pt idx="1238">92.354838709677423</cx:pt>
          <cx:pt idx="1239">93.129032258064512</cx:pt>
          <cx:pt idx="1240">93.387096774193552</cx:pt>
          <cx:pt idx="1241">93.483870967741936</cx:pt>
          <cx:pt idx="1242">94.032258064516128</cx:pt>
          <cx:pt idx="1243">94.58064516129032</cx:pt>
          <cx:pt idx="1244">95.193548387096769</cx:pt>
          <cx:pt idx="1245">95.354838709677423</cx:pt>
          <cx:pt idx="1246">95.612903225806448</cx:pt>
          <cx:pt idx="1247">95.677419354838705</cx:pt>
          <cx:pt idx="1248">96.354838709677423</cx:pt>
          <cx:pt idx="1249">96.58064516129032</cx:pt>
          <cx:pt idx="1250">96.709677419354833</cx:pt>
          <cx:pt idx="1251">96.709677419354833</cx:pt>
          <cx:pt idx="1252">97.096774193548384</cx:pt>
          <cx:pt idx="1253">97.774193548387103</cx:pt>
          <cx:pt idx="1254">98.41935483870968</cx:pt>
          <cx:pt idx="1255">98.806451612903231</cx:pt>
          <cx:pt idx="1256">98.741935483870961</cx:pt>
          <cx:pt idx="1257">99.516129032258064</cx:pt>
          <cx:pt idx="1258">99.903225806451616</cx:pt>
          <cx:pt idx="1259">99.870967741935488</cx:pt>
          <cx:pt idx="1260">100.06451612903226</cx:pt>
          <cx:pt idx="1261">100.25806451612904</cx:pt>
          <cx:pt idx="1262">100.45161290322581</cx:pt>
          <cx:pt idx="1263">100.45161290322581</cx:pt>
          <cx:pt idx="1264">100.51612903225806</cx:pt>
          <cx:pt idx="1265">100.45161290322581</cx:pt>
          <cx:pt idx="1266">100.58064516129032</cx:pt>
          <cx:pt idx="1267">100.48387096774194</cx:pt>
          <cx:pt idx="1268">100.61290322580645</cx:pt>
          <cx:pt idx="1269">100.87096774193549</cx:pt>
          <cx:pt idx="1270">100.70967741935483</cx:pt>
          <cx:pt idx="1271">100.87096774193549</cx:pt>
          <cx:pt idx="1272">100.90322580645162</cx:pt>
          <cx:pt idx="1273">100.96774193548387</cx:pt>
          <cx:pt idx="1274">100.96774193548387</cx:pt>
          <cx:pt idx="1275">100.90322580645162</cx:pt>
          <cx:pt idx="1276">100.83870967741936</cx:pt>
          <cx:pt idx="1277">100.83870967741936</cx:pt>
          <cx:pt idx="1278">100.25806451612904</cx:pt>
          <cx:pt idx="1279">99.548387096774192</cx:pt>
          <cx:pt idx="1280">99.451612903225808</cx:pt>
          <cx:pt idx="1281">99.258064516129039</cx:pt>
          <cx:pt idx="1282">99.064516129032256</cx:pt>
          <cx:pt idx="1283">98.709677419354833</cx:pt>
          <cx:pt idx="1284">98.129032258064512</cx:pt>
          <cx:pt idx="1285">97.645161290322577</cx:pt>
          <cx:pt idx="1286">97.516129032258064</cx:pt>
          <cx:pt idx="1287">97.322580645161295</cx:pt>
          <cx:pt idx="1288">96.741935483870961</cx:pt>
          <cx:pt idx="1289">96.258064516129039</cx:pt>
          <cx:pt idx="1290">96.354838709677423</cx:pt>
          <cx:pt idx="1291">95.967741935483872</cx:pt>
          <cx:pt idx="1292">95.806451612903231</cx:pt>
          <cx:pt idx="1293">95.516129032258064</cx:pt>
          <cx:pt idx="1294">95.064516129032256</cx:pt>
          <cx:pt idx="1295">94.645161290322577</cx:pt>
          <cx:pt idx="1296">94.129032258064512</cx:pt>
          <cx:pt idx="1297">93.516129032258064</cx:pt>
          <cx:pt idx="1298">93.258064516129039</cx:pt>
          <cx:pt idx="1299">92.903225806451616</cx:pt>
          <cx:pt idx="1300">92.709677419354833</cx:pt>
          <cx:pt idx="1301">92.064516129032256</cx:pt>
          <cx:pt idx="1302">91.516129032258064</cx:pt>
          <cx:pt idx="1303">91.354838709677423</cx:pt>
          <cx:pt idx="1304">91.322580645161295</cx:pt>
          <cx:pt idx="1305">91.225806451612897</cx:pt>
          <cx:pt idx="1306">90.612903225806448</cx:pt>
          <cx:pt idx="1307">90.58064516129032</cx:pt>
          <cx:pt idx="1308">90.645161290322577</cx:pt>
          <cx:pt idx="1309">90.709677419354833</cx:pt>
          <cx:pt idx="1310">90.838709677419359</cx:pt>
          <cx:pt idx="1311">90.838709677419359</cx:pt>
          <cx:pt idx="1312">90.516129032258064</cx:pt>
          <cx:pt idx="1313">90.387096774193552</cx:pt>
          <cx:pt idx="1314">90.677419354838705</cx:pt>
          <cx:pt idx="1315">91.161290322580641</cx:pt>
          <cx:pt idx="1316">91.064516129032256</cx:pt>
          <cx:pt idx="1317">90.838709677419359</cx:pt>
          <cx:pt idx="1318">90.516129032258064</cx:pt>
          <cx:pt idx="1319">90.612903225806448</cx:pt>
          <cx:pt idx="1320">90.774193548387103</cx:pt>
          <cx:pt idx="1321">90.516129032258064</cx:pt>
          <cx:pt idx="1322">90.516129032258064</cx:pt>
          <cx:pt idx="1323">90.612903225806448</cx:pt>
          <cx:pt idx="1324">90.741935483870961</cx:pt>
          <cx:pt idx="1325">90.903225806451616</cx:pt>
          <cx:pt idx="1326">91.096774193548384</cx:pt>
          <cx:pt idx="1327">91.290322580645167</cx:pt>
          <cx:pt idx="1328">91.290322580645167</cx:pt>
          <cx:pt idx="1329">91.225806451612897</cx:pt>
          <cx:pt idx="1330">91.354838709677423</cx:pt>
          <cx:pt idx="1331">91.129032258064512</cx:pt>
          <cx:pt idx="1332">91.387096774193552</cx:pt>
          <cx:pt idx="1333">91.516129032258064</cx:pt>
          <cx:pt idx="1334">90.903225806451616</cx:pt>
          <cx:pt idx="1335">90.548387096774192</cx:pt>
          <cx:pt idx="1336">90.387096774193552</cx:pt>
          <cx:pt idx="1337">90.387096774193552</cx:pt>
          <cx:pt idx="1338">90.096774193548384</cx:pt>
          <cx:pt idx="1339">89.58064516129032</cx:pt>
          <cx:pt idx="1340">89.516129032258064</cx:pt>
          <cx:pt idx="1341">89.645161290322577</cx:pt>
          <cx:pt idx="1342">89.032258064516128</cx:pt>
          <cx:pt idx="1343">89.225806451612897</cx:pt>
          <cx:pt idx="1344">89.161290322580641</cx:pt>
          <cx:pt idx="1345">88.903225806451616</cx:pt>
          <cx:pt idx="1346">88.483870967741936</cx:pt>
          <cx:pt idx="1347">88.774193548387103</cx:pt>
          <cx:pt idx="1348">88.870967741935488</cx:pt>
          <cx:pt idx="1349">89.096774193548384</cx:pt>
          <cx:pt idx="1350">89.064516129032256</cx:pt>
          <cx:pt idx="1351">89.193548387096769</cx:pt>
          <cx:pt idx="1352">89.322580645161295</cx:pt>
          <cx:pt idx="1353">89.709677419354833</cx:pt>
          <cx:pt idx="1354">89.322580645161295</cx:pt>
          <cx:pt idx="1355">88.935483870967744</cx:pt>
          <cx:pt idx="1356">88.838709677419359</cx:pt>
          <cx:pt idx="1357">88.774193548387103</cx:pt>
          <cx:pt idx="1358">89.129032258064512</cx:pt>
          <cx:pt idx="1359">89.129032258064512</cx:pt>
          <cx:pt idx="1360">89.096774193548384</cx:pt>
          <cx:pt idx="1361">89.032258064516128</cx:pt>
          <cx:pt idx="1362">88.774193548387103</cx:pt>
          <cx:pt idx="1363">88.677419354838705</cx:pt>
          <cx:pt idx="1364">88.806451612903231</cx:pt>
          <cx:pt idx="1365">89</cx:pt>
          <cx:pt idx="1366">88.806451612903231</cx:pt>
          <cx:pt idx="1367">88.935483870967744</cx:pt>
          <cx:pt idx="1368">89.064516129032256</cx:pt>
          <cx:pt idx="1369">88.870967741935488</cx:pt>
          <cx:pt idx="1370">89.096774193548384</cx:pt>
          <cx:pt idx="1371">89.483870967741936</cx:pt>
          <cx:pt idx="1372">89.709677419354833</cx:pt>
          <cx:pt idx="1373">89.806451612903231</cx:pt>
          <cx:pt idx="1374">90.032258064516128</cx:pt>
          <cx:pt idx="1375">90.483870967741936</cx:pt>
          <cx:pt idx="1376">90.483870967741936</cx:pt>
          <cx:pt idx="1377">90.548387096774192</cx:pt>
          <cx:pt idx="1378">90.193548387096769</cx:pt>
          <cx:pt idx="1379">90</cx:pt>
          <cx:pt idx="1380">90.129032258064512</cx:pt>
          <cx:pt idx="1381">90</cx:pt>
          <cx:pt idx="1382">89.709677419354833</cx:pt>
          <cx:pt idx="1383">89.838709677419359</cx:pt>
          <cx:pt idx="1384">89.645161290322577</cx:pt>
          <cx:pt idx="1385">89.677419354838705</cx:pt>
          <cx:pt idx="1386">89.645161290322577</cx:pt>
          <cx:pt idx="1387">89.290322580645167</cx:pt>
          <cx:pt idx="1388">88.967741935483872</cx:pt>
          <cx:pt idx="1389">88.870967741935488</cx:pt>
          <cx:pt idx="1390">88.774193548387103</cx:pt>
          <cx:pt idx="1391">88.677419354838705</cx:pt>
          <cx:pt idx="1392">88.548387096774192</cx:pt>
          <cx:pt idx="1393">88.483870967741936</cx:pt>
          <cx:pt idx="1394">88.806451612903231</cx:pt>
          <cx:pt idx="1395">89</cx:pt>
          <cx:pt idx="1396">89.032258064516128</cx:pt>
          <cx:pt idx="1397">89.387096774193552</cx:pt>
          <cx:pt idx="1398">89.387096774193552</cx:pt>
          <cx:pt idx="1399">89.161290322580641</cx:pt>
          <cx:pt idx="1400">89.709677419354833</cx:pt>
          <cx:pt idx="1401">89.838709677419359</cx:pt>
          <cx:pt idx="1402">89.451612903225808</cx:pt>
          <cx:pt idx="1403">89.225806451612897</cx:pt>
          <cx:pt idx="1404">89.41935483870968</cx:pt>
          <cx:pt idx="1405">89.096774193548384</cx:pt>
          <cx:pt idx="1406">89</cx:pt>
          <cx:pt idx="1407">89.354838709677423</cx:pt>
          <cx:pt idx="1408">89.612903225806448</cx:pt>
          <cx:pt idx="1409">89.838709677419359</cx:pt>
          <cx:pt idx="1410">89.548387096774192</cx:pt>
          <cx:pt idx="1411">89.290322580645167</cx:pt>
          <cx:pt idx="1412">89.129032258064512</cx:pt>
          <cx:pt idx="1413">89.322580645161295</cx:pt>
          <cx:pt idx="1414">88.838709677419359</cx:pt>
          <cx:pt idx="1415">88.677419354838705</cx:pt>
          <cx:pt idx="1416">88.806451612903231</cx:pt>
          <cx:pt idx="1417">89.161290322580641</cx:pt>
          <cx:pt idx="1418">89.709677419354833</cx:pt>
          <cx:pt idx="1419">89.903225806451616</cx:pt>
          <cx:pt idx="1420">89.677419354838705</cx:pt>
          <cx:pt idx="1421">89.677419354838705</cx:pt>
          <cx:pt idx="1422">89.741935483870961</cx:pt>
          <cx:pt idx="1423">89.451612903225808</cx:pt>
          <cx:pt idx="1424">90.032258064516128</cx:pt>
          <cx:pt idx="1425">90.096774193548384</cx:pt>
          <cx:pt idx="1426">89.741935483870961</cx:pt>
          <cx:pt idx="1427">89.58064516129032</cx:pt>
          <cx:pt idx="1428">89.483870967741936</cx:pt>
          <cx:pt idx="1429">89.483870967741936</cx:pt>
          <cx:pt idx="1430">89.612903225806448</cx:pt>
          <cx:pt idx="1431">89.41935483870968</cx:pt>
          <cx:pt idx="1432">89.193548387096769</cx:pt>
          <cx:pt idx="1433">89.225806451612897</cx:pt>
          <cx:pt idx="1434">89.064516129032256</cx:pt>
          <cx:pt idx="1435">88.870967741935488</cx:pt>
          <cx:pt idx="1436">89.129032258064512</cx:pt>
          <cx:pt idx="1437">88.709677419354833</cx:pt>
          <cx:pt idx="1438">88.322580645161295</cx:pt>
          <cx:pt idx="1439">88.193548387096769</cx:pt>
          <cx:pt idx="1440">88.387096774193552</cx:pt>
          <cx:pt idx="1441">88.677419354838705</cx:pt>
          <cx:pt idx="1442">88.612903225806448</cx:pt>
          <cx:pt idx="1443">88.806451612903231</cx:pt>
          <cx:pt idx="1444">88.322580645161295</cx:pt>
          <cx:pt idx="1445">88.838709677419359</cx:pt>
          <cx:pt idx="1446">89.064516129032256</cx:pt>
          <cx:pt idx="1447">89.161290322580641</cx:pt>
          <cx:pt idx="1448">89.161290322580641</cx:pt>
          <cx:pt idx="1449">88.58064516129032</cx:pt>
          <cx:pt idx="1450">88.806451612903231</cx:pt>
          <cx:pt idx="1451">88.516129032258064</cx:pt>
          <cx:pt idx="1452">88.935483870967744</cx:pt>
          <cx:pt idx="1453">88.838709677419359</cx:pt>
          <cx:pt idx="1454">89.032258064516128</cx:pt>
          <cx:pt idx="1455">88.677419354838705</cx:pt>
          <cx:pt idx="1456">88.290322580645167</cx:pt>
          <cx:pt idx="1457">88.225806451612897</cx:pt>
          <cx:pt idx="1458">88.387096774193552</cx:pt>
          <cx:pt idx="1459">88.387096774193552</cx:pt>
          <cx:pt idx="1460">87.774193548387103</cx:pt>
          <cx:pt idx="1461">87.903225806451616</cx:pt>
          <cx:pt idx="1462">87.612903225806448</cx:pt>
          <cx:pt idx="1463">87.935483870967744</cx:pt>
          <cx:pt idx="1464">88.483870967741936</cx:pt>
          <cx:pt idx="1465">88.548387096774192</cx:pt>
          <cx:pt idx="1466">88.58064516129032</cx:pt>
          <cx:pt idx="1467">88.129032258064512</cx:pt>
          <cx:pt idx="1468">88.064516129032256</cx:pt>
          <cx:pt idx="1469">88.161290322580641</cx:pt>
          <cx:pt idx="1470">87.935483870967744</cx:pt>
          <cx:pt idx="1471">87.612903225806448</cx:pt>
          <cx:pt idx="1472">87.903225806451616</cx:pt>
          <cx:pt idx="1473">88.41935483870968</cx:pt>
          <cx:pt idx="1474">88.258064516129039</cx:pt>
          <cx:pt idx="1475">88.612903225806448</cx:pt>
          <cx:pt idx="1476">88.032258064516128</cx:pt>
          <cx:pt idx="1477">87.806451612903231</cx:pt>
          <cx:pt idx="1478">87.935483870967744</cx:pt>
          <cx:pt idx="1479">87.516129032258064</cx:pt>
          <cx:pt idx="1480">87.548387096774192</cx:pt>
          <cx:pt idx="1481">87.387096774193552</cx:pt>
          <cx:pt idx="1482">87.645161290322577</cx:pt>
          <cx:pt idx="1483">87.354838709677423</cx:pt>
          <cx:pt idx="1484">87.870967741935488</cx:pt>
          <cx:pt idx="1485">88.290322580645167</cx:pt>
          <cx:pt idx="1486">88.354838709677423</cx:pt>
          <cx:pt idx="1487">88.225806451612897</cx:pt>
          <cx:pt idx="1488">88.290322580645167</cx:pt>
          <cx:pt idx="1489">88.258064516129039</cx:pt>
          <cx:pt idx="1490">88.225806451612897</cx:pt>
          <cx:pt idx="1491">88.58064516129032</cx:pt>
          <cx:pt idx="1492">88.741935483870961</cx:pt>
          <cx:pt idx="1493">89.225806451612897</cx:pt>
          <cx:pt idx="1494">88.935483870967744</cx:pt>
          <cx:pt idx="1495">88.58064516129032</cx:pt>
          <cx:pt idx="1496">88.612903225806448</cx:pt>
          <cx:pt idx="1497">88.709677419354833</cx:pt>
          <cx:pt idx="1498">88.709677419354833</cx:pt>
          <cx:pt idx="1499">89.225806451612897</cx:pt>
          <cx:pt idx="1500">89.41935483870968</cx:pt>
          <cx:pt idx="1501">89.354838709677423</cx:pt>
          <cx:pt idx="1502">89.806451612903231</cx:pt>
          <cx:pt idx="1503">89.741935483870961</cx:pt>
          <cx:pt idx="1504">89.41935483870968</cx:pt>
          <cx:pt idx="1505">89.451612903225808</cx:pt>
          <cx:pt idx="1506">89.451612903225808</cx:pt>
          <cx:pt idx="1507">89.806451612903231</cx:pt>
          <cx:pt idx="1508">90.129032258064512</cx:pt>
          <cx:pt idx="1509">90.064516129032256</cx:pt>
          <cx:pt idx="1510">90.225806451612897</cx:pt>
          <cx:pt idx="1511">90.516129032258064</cx:pt>
          <cx:pt idx="1512">90.096774193548384</cx:pt>
          <cx:pt idx="1513">90.41935483870968</cx:pt>
          <cx:pt idx="1514">90.645161290322577</cx:pt>
          <cx:pt idx="1515">90.516129032258064</cx:pt>
          <cx:pt idx="1516">90.258064516129039</cx:pt>
          <cx:pt idx="1517">90.064516129032256</cx:pt>
          <cx:pt idx="1518">90.58064516129032</cx:pt>
          <cx:pt idx="1519">90.451612903225808</cx:pt>
          <cx:pt idx="1520">90.290322580645167</cx:pt>
          <cx:pt idx="1521">90.612903225806448</cx:pt>
          <cx:pt idx="1522">90.548387096774192</cx:pt>
          <cx:pt idx="1523">90.290322580645167</cx:pt>
          <cx:pt idx="1524">90.225806451612897</cx:pt>
          <cx:pt idx="1525">90.387096774193552</cx:pt>
          <cx:pt idx="1526">90.774193548387103</cx:pt>
          <cx:pt idx="1527">90.935483870967744</cx:pt>
          <cx:pt idx="1528">91.258064516129039</cx:pt>
          <cx:pt idx="1529">91.645161290322577</cx:pt>
          <cx:pt idx="1530">91.58064516129032</cx:pt>
          <cx:pt idx="1531">91.161290322580641</cx:pt>
          <cx:pt idx="1532">91.709677419354833</cx:pt>
          <cx:pt idx="1533">91.645161290322577</cx:pt>
          <cx:pt idx="1534">91.548387096774192</cx:pt>
          <cx:pt idx="1535">91.516129032258064</cx:pt>
          <cx:pt idx="1536">91.612903225806448</cx:pt>
          <cx:pt idx="1537">91.58064516129032</cx:pt>
          <cx:pt idx="1538">91.225806451612897</cx:pt>
          <cx:pt idx="1539">91</cx:pt>
          <cx:pt idx="1540">90.838709677419359</cx:pt>
          <cx:pt idx="1541">90.774193548387103</cx:pt>
          <cx:pt idx="1542">90.677419354838705</cx:pt>
          <cx:pt idx="1543">90.870967741935488</cx:pt>
          <cx:pt idx="1544">90.903225806451616</cx:pt>
          <cx:pt idx="1545">90.677419354838705</cx:pt>
          <cx:pt idx="1546">90.322580645161295</cx:pt>
          <cx:pt idx="1547">90.451612903225808</cx:pt>
          <cx:pt idx="1548">90.838709677419359</cx:pt>
          <cx:pt idx="1549">90.451612903225808</cx:pt>
          <cx:pt idx="1550">91</cx:pt>
          <cx:pt idx="1551">91.225806451612897</cx:pt>
          <cx:pt idx="1552">90.903225806451616</cx:pt>
          <cx:pt idx="1553">90.870967741935488</cx:pt>
          <cx:pt idx="1554">91.161290322580641</cx:pt>
          <cx:pt idx="1555">91.225806451612897</cx:pt>
          <cx:pt idx="1556">91</cx:pt>
          <cx:pt idx="1557">90.612903225806448</cx:pt>
          <cx:pt idx="1558">90.225806451612897</cx:pt>
          <cx:pt idx="1559">90.161290322580641</cx:pt>
          <cx:pt idx="1560">90.290322580645167</cx:pt>
          <cx:pt idx="1561">90.032258064516128</cx:pt>
          <cx:pt idx="1562">90.290322580645167</cx:pt>
          <cx:pt idx="1563">89.838709677419359</cx:pt>
          <cx:pt idx="1564">89.516129032258064</cx:pt>
          <cx:pt idx="1565">89.451612903225808</cx:pt>
          <cx:pt idx="1566">89.58064516129032</cx:pt>
          <cx:pt idx="1567">89.903225806451616</cx:pt>
          <cx:pt idx="1568">89.870967741935488</cx:pt>
          <cx:pt idx="1569">90.258064516129039</cx:pt>
          <cx:pt idx="1570">90.483870967741936</cx:pt>
          <cx:pt idx="1571">90.516129032258064</cx:pt>
          <cx:pt idx="1572">90.483870967741936</cx:pt>
          <cx:pt idx="1573">90.483870967741936</cx:pt>
          <cx:pt idx="1574">90.548387096774192</cx:pt>
          <cx:pt idx="1575">90.258064516129039</cx:pt>
          <cx:pt idx="1576">90.322580645161295</cx:pt>
          <cx:pt idx="1577">90.516129032258064</cx:pt>
          <cx:pt idx="1578">90.290322580645167</cx:pt>
          <cx:pt idx="1579">90.387096774193552</cx:pt>
          <cx:pt idx="1580">90.838709677419359</cx:pt>
          <cx:pt idx="1581">90.58064516129032</cx:pt>
          <cx:pt idx="1582">90.838709677419359</cx:pt>
          <cx:pt idx="1583">91</cx:pt>
          <cx:pt idx="1584">91.290322580645167</cx:pt>
          <cx:pt idx="1585">91.258064516129039</cx:pt>
          <cx:pt idx="1586">91.129032258064512</cx:pt>
          <cx:pt idx="1587">91.225806451612897</cx:pt>
          <cx:pt idx="1588">91.41935483870968</cx:pt>
          <cx:pt idx="1589">91.903225806451616</cx:pt>
          <cx:pt idx="1590">91.677419354838705</cx:pt>
          <cx:pt idx="1591">91.58064516129032</cx:pt>
          <cx:pt idx="1592">91.967741935483872</cx:pt>
          <cx:pt idx="1593">92.322580645161295</cx:pt>
          <cx:pt idx="1594">92.225806451612897</cx:pt>
          <cx:pt idx="1595">92.516129032258064</cx:pt>
          <cx:pt idx="1596">92.354838709677423</cx:pt>
          <cx:pt idx="1597">92.677419354838705</cx:pt>
          <cx:pt idx="1598">92.451612903225808</cx:pt>
          <cx:pt idx="1599">92.483870967741936</cx:pt>
          <cx:pt idx="1600">92.387096774193552</cx:pt>
          <cx:pt idx="1601">92.387096774193552</cx:pt>
          <cx:pt idx="1602">92.193548387096769</cx:pt>
          <cx:pt idx="1603">92.354838709677423</cx:pt>
          <cx:pt idx="1604">92.41935483870968</cx:pt>
          <cx:pt idx="1605">92.612903225806448</cx:pt>
          <cx:pt idx="1606">92.483870967741936</cx:pt>
          <cx:pt idx="1607">92.677419354838705</cx:pt>
          <cx:pt idx="1608">92.838709677419359</cx:pt>
          <cx:pt idx="1609">92.870967741935488</cx:pt>
          <cx:pt idx="1610">92.290322580645167</cx:pt>
          <cx:pt idx="1611">92.322580645161295</cx:pt>
          <cx:pt idx="1612">92.387096774193552</cx:pt>
          <cx:pt idx="1613">91.935483870967744</cx:pt>
          <cx:pt idx="1614">91.935483870967744</cx:pt>
          <cx:pt idx="1615">91.483870967741936</cx:pt>
          <cx:pt idx="1616">91.225806451612897</cx:pt>
          <cx:pt idx="1617">91.129032258064512</cx:pt>
          <cx:pt idx="1618">90.967741935483872</cx:pt>
          <cx:pt idx="1619">90.645161290322577</cx:pt>
          <cx:pt idx="1620">90.129032258064512</cx:pt>
          <cx:pt idx="1621">90.516129032258064</cx:pt>
          <cx:pt idx="1622">90.193548387096769</cx:pt>
          <cx:pt idx="1623">89.612903225806448</cx:pt>
          <cx:pt idx="1624">89.193548387096769</cx:pt>
          <cx:pt idx="1625">89.741935483870961</cx:pt>
          <cx:pt idx="1626">89.645161290322577</cx:pt>
          <cx:pt idx="1627">89.41935483870968</cx:pt>
          <cx:pt idx="1628">89</cx:pt>
          <cx:pt idx="1629">89.290322580645167</cx:pt>
          <cx:pt idx="1630">89.451612903225808</cx:pt>
          <cx:pt idx="1631">89.548387096774192</cx:pt>
          <cx:pt idx="1632">89.354838709677423</cx:pt>
          <cx:pt idx="1633">89.548387096774192</cx:pt>
          <cx:pt idx="1634">89.548387096774192</cx:pt>
          <cx:pt idx="1635">89.548387096774192</cx:pt>
          <cx:pt idx="1636">89.612903225806448</cx:pt>
          <cx:pt idx="1637">89.677419354838705</cx:pt>
          <cx:pt idx="1638">89.741935483870961</cx:pt>
          <cx:pt idx="1639">89.677419354838705</cx:pt>
          <cx:pt idx="1640">89.806451612903231</cx:pt>
          <cx:pt idx="1641">90.258064516129039</cx:pt>
          <cx:pt idx="1642">89.870967741935488</cx:pt>
          <cx:pt idx="1643">89.741935483870961</cx:pt>
          <cx:pt idx="1644">89.774193548387103</cx:pt>
          <cx:pt idx="1645">89.774193548387103</cx:pt>
          <cx:pt idx="1646">90.161290322580641</cx:pt>
          <cx:pt idx="1647">90.290322580645167</cx:pt>
          <cx:pt idx="1648">90.612903225806448</cx:pt>
          <cx:pt idx="1649">91.161290322580641</cx:pt>
          <cx:pt idx="1650">91.645161290322577</cx:pt>
          <cx:pt idx="1651">92.258064516129039</cx:pt>
          <cx:pt idx="1652">91.903225806451616</cx:pt>
          <cx:pt idx="1653">91.806451612903231</cx:pt>
          <cx:pt idx="1654">92.225806451612897</cx:pt>
          <cx:pt idx="1655">92.258064516129039</cx:pt>
          <cx:pt idx="1656">92.032258064516128</cx:pt>
          <cx:pt idx="1657">91.870967741935488</cx:pt>
          <cx:pt idx="1658">92.225806451612897</cx:pt>
          <cx:pt idx="1659">92.41935483870968</cx:pt>
          <cx:pt idx="1660">91.967741935483872</cx:pt>
          <cx:pt idx="1661">91.709677419354833</cx:pt>
          <cx:pt idx="1662">91.58064516129032</cx:pt>
          <cx:pt idx="1663">91.741935483870961</cx:pt>
          <cx:pt idx="1664">91.709677419354833</cx:pt>
          <cx:pt idx="1665">91.387096774193552</cx:pt>
          <cx:pt idx="1666">91.548387096774192</cx:pt>
          <cx:pt idx="1667">91.354838709677423</cx:pt>
          <cx:pt idx="1668">91.516129032258064</cx:pt>
          <cx:pt idx="1669">91.258064516129039</cx:pt>
          <cx:pt idx="1670">91.58064516129032</cx:pt>
          <cx:pt idx="1671">91.645161290322577</cx:pt>
          <cx:pt idx="1672">91.741935483870961</cx:pt>
          <cx:pt idx="1673">91.516129032258064</cx:pt>
          <cx:pt idx="1674">91.483870967741936</cx:pt>
          <cx:pt idx="1675">91.645161290322577</cx:pt>
          <cx:pt idx="1676">91.354838709677423</cx:pt>
          <cx:pt idx="1677">91.032258064516128</cx:pt>
          <cx:pt idx="1678">90.870967741935488</cx:pt>
          <cx:pt idx="1679">90.709677419354833</cx:pt>
          <cx:pt idx="1680">90.451612903225808</cx:pt>
          <cx:pt idx="1681">90.161290322580641</cx:pt>
          <cx:pt idx="1682">89.58064516129032</cx:pt>
          <cx:pt idx="1683">89.709677419354833</cx:pt>
          <cx:pt idx="1684">90.225806451612897</cx:pt>
          <cx:pt idx="1685">90.032258064516128</cx:pt>
          <cx:pt idx="1686">90.096774193548384</cx:pt>
          <cx:pt idx="1687">89.806451612903231</cx:pt>
          <cx:pt idx="1688">90</cx:pt>
          <cx:pt idx="1689">89.806451612903231</cx:pt>
          <cx:pt idx="1690">89.935483870967744</cx:pt>
          <cx:pt idx="1691">89.838709677419359</cx:pt>
          <cx:pt idx="1692">90.193548387096769</cx:pt>
          <cx:pt idx="1693">90.451612903225808</cx:pt>
          <cx:pt idx="1694">90.161290322580641</cx:pt>
          <cx:pt idx="1695">89.806451612903231</cx:pt>
          <cx:pt idx="1696">90.161290322580641</cx:pt>
          <cx:pt idx="1697">89.838709677419359</cx:pt>
          <cx:pt idx="1698">89.741935483870961</cx:pt>
          <cx:pt idx="1699">90.096774193548384</cx:pt>
          <cx:pt idx="1700">90.548387096774192</cx:pt>
          <cx:pt idx="1701">90.645161290322577</cx:pt>
          <cx:pt idx="1702">90.612903225806448</cx:pt>
          <cx:pt idx="1703">90.806451612903231</cx:pt>
          <cx:pt idx="1704">91.354838709677423</cx:pt>
          <cx:pt idx="1705">91.774193548387103</cx:pt>
          <cx:pt idx="1706">92.322580645161295</cx:pt>
          <cx:pt idx="1707">92.741935483870961</cx:pt>
          <cx:pt idx="1708">93.161290322580641</cx:pt>
          <cx:pt idx="1709">93.516129032258064</cx:pt>
          <cx:pt idx="1710">93.516129032258064</cx:pt>
          <cx:pt idx="1711">93.838709677419359</cx:pt>
          <cx:pt idx="1712">94.258064516129039</cx:pt>
          <cx:pt idx="1713">94.870967741935488</cx:pt>
          <cx:pt idx="1714">94.967741935483872</cx:pt>
          <cx:pt idx="1715">94.903225806451616</cx:pt>
          <cx:pt idx="1716">95.096774193548384</cx:pt>
          <cx:pt idx="1717">95.322580645161295</cx:pt>
          <cx:pt idx="1718">95.967741935483872</cx:pt>
          <cx:pt idx="1719">96.387096774193552</cx:pt>
          <cx:pt idx="1720">97.032258064516128</cx:pt>
          <cx:pt idx="1721">97.129032258064512</cx:pt>
          <cx:pt idx="1722">97.838709677419359</cx:pt>
          <cx:pt idx="1723">97.967741935483872</cx:pt>
          <cx:pt idx="1724">97.967741935483872</cx:pt>
          <cx:pt idx="1725">98.451612903225808</cx:pt>
          <cx:pt idx="1726">98.967741935483872</cx:pt>
          <cx:pt idx="1727">99.354838709677423</cx:pt>
          <cx:pt idx="1728">100</cx:pt>
          <cx:pt idx="1729">100.45161290322581</cx:pt>
          <cx:pt idx="1730">100.12903225806451</cx:pt>
          <cx:pt idx="1731">100.06451612903226</cx:pt>
          <cx:pt idx="1732">99.838709677419359</cx:pt>
          <cx:pt idx="1733">99.903225806451616</cx:pt>
          <cx:pt idx="1734">99.806451612903231</cx:pt>
          <cx:pt idx="1735">100</cx:pt>
          <cx:pt idx="1736">100.12903225806451</cx:pt>
          <cx:pt idx="1737">100.12903225806451</cx:pt>
          <cx:pt idx="1738">100.12903225806451</cx:pt>
          <cx:pt idx="1739">100.19354838709677</cx:pt>
          <cx:pt idx="1740">100.3225806451613</cx:pt>
          <cx:pt idx="1741">100.48387096774194</cx:pt>
          <cx:pt idx="1742">100.58064516129032</cx:pt>
          <cx:pt idx="1743">100.3225806451613</cx:pt>
          <cx:pt idx="1744">99.709677419354833</cx:pt>
          <cx:pt idx="1745">99.258064516129039</cx:pt>
          <cx:pt idx="1746">99</cx:pt>
          <cx:pt idx="1747">98.645161290322577</cx:pt>
          <cx:pt idx="1748">98.774193548387103</cx:pt>
          <cx:pt idx="1749">98.548387096774192</cx:pt>
          <cx:pt idx="1750">98.193548387096769</cx:pt>
          <cx:pt idx="1751">97.838709677419359</cx:pt>
          <cx:pt idx="1752">97.290322580645167</cx:pt>
          <cx:pt idx="1753">97.064516129032256</cx:pt>
          <cx:pt idx="1754">96.516129032258064</cx:pt>
          <cx:pt idx="1755">96.387096774193552</cx:pt>
          <cx:pt idx="1756">95.903225806451616</cx:pt>
          <cx:pt idx="1757">95.677419354838705</cx:pt>
          <cx:pt idx="1758">95.225806451612897</cx:pt>
          <cx:pt idx="1759">94.677419354838705</cx:pt>
          <cx:pt idx="1760">94.354838709677423</cx:pt>
          <cx:pt idx="1761">94.161290322580641</cx:pt>
          <cx:pt idx="1762">93.709677419354833</cx:pt>
          <cx:pt idx="1763">93.290322580645167</cx:pt>
          <cx:pt idx="1764">92.967741935483872</cx:pt>
          <cx:pt idx="1765">92.935483870967744</cx:pt>
          <cx:pt idx="1766">92.322580645161295</cx:pt>
          <cx:pt idx="1767">92</cx:pt>
          <cx:pt idx="1768">91.677419354838705</cx:pt>
          <cx:pt idx="1769">91.290322580645167</cx:pt>
          <cx:pt idx="1770">90.935483870967744</cx:pt>
          <cx:pt idx="1771">90.677419354838705</cx:pt>
          <cx:pt idx="1772">90.096774193548384</cx:pt>
          <cx:pt idx="1773">89.58064516129032</cx:pt>
          <cx:pt idx="1774">89.516129032258064</cx:pt>
          <cx:pt idx="1775">89.612903225806448</cx:pt>
          <cx:pt idx="1776">89.935483870967744</cx:pt>
          <cx:pt idx="1777">89.709677419354833</cx:pt>
          <cx:pt idx="1778">90.225806451612897</cx:pt>
          <cx:pt idx="1779">90.193548387096769</cx:pt>
          <cx:pt idx="1780">89.903225806451616</cx:pt>
          <cx:pt idx="1781">89.870967741935488</cx:pt>
          <cx:pt idx="1782">89.483870967741936</cx:pt>
          <cx:pt idx="1783">89.806451612903231</cx:pt>
          <cx:pt idx="1784">89.387096774193552</cx:pt>
          <cx:pt idx="1785">89.516129032258064</cx:pt>
          <cx:pt idx="1786">89.645161290322577</cx:pt>
          <cx:pt idx="1787">89.935483870967744</cx:pt>
          <cx:pt idx="1788">90.225806451612897</cx:pt>
          <cx:pt idx="1789">90.516129032258064</cx:pt>
          <cx:pt idx="1790">90.290322580645167</cx:pt>
          <cx:pt idx="1791">90.096774193548384</cx:pt>
          <cx:pt idx="1792">90.387096774193552</cx:pt>
          <cx:pt idx="1793">90.258064516129039</cx:pt>
          <cx:pt idx="1794">90.322580645161295</cx:pt>
          <cx:pt idx="1795">90.548387096774192</cx:pt>
          <cx:pt idx="1796">90.451612903225808</cx:pt>
          <cx:pt idx="1797">90.548387096774192</cx:pt>
          <cx:pt idx="1798">90.322580645161295</cx:pt>
          <cx:pt idx="1799">90.451612903225808</cx:pt>
          <cx:pt idx="1800">90.387096774193552</cx:pt>
          <cx:pt idx="1801">90.193548387096769</cx:pt>
          <cx:pt idx="1802">89.967741935483872</cx:pt>
          <cx:pt idx="1803">90.387096774193552</cx:pt>
          <cx:pt idx="1804">90.225806451612897</cx:pt>
          <cx:pt idx="1805">90.032258064516128</cx:pt>
          <cx:pt idx="1806">90.322580645161295</cx:pt>
          <cx:pt idx="1807">90.193548387096769</cx:pt>
          <cx:pt idx="1808">90.774193548387103</cx:pt>
          <cx:pt idx="1809">90.58064516129032</cx:pt>
          <cx:pt idx="1810">90.548387096774192</cx:pt>
          <cx:pt idx="1811">90.741935483870961</cx:pt>
          <cx:pt idx="1812">90.354838709677423</cx:pt>
          <cx:pt idx="1813">90.451612903225808</cx:pt>
          <cx:pt idx="1814">90.548387096774192</cx:pt>
          <cx:pt idx="1815">90.903225806451616</cx:pt>
          <cx:pt idx="1816">91.161290322580641</cx:pt>
          <cx:pt idx="1817">90.645161290322577</cx:pt>
          <cx:pt idx="1818">90.387096774193552</cx:pt>
          <cx:pt idx="1819">90.290322580645167</cx:pt>
          <cx:pt idx="1820">89.677419354838705</cx:pt>
          <cx:pt idx="1821">90.225806451612897</cx:pt>
          <cx:pt idx="1822">90.322580645161295</cx:pt>
          <cx:pt idx="1823">90.096774193548384</cx:pt>
          <cx:pt idx="1824">90.096774193548384</cx:pt>
          <cx:pt idx="1825">90.225806451612897</cx:pt>
          <cx:pt idx="1826">89.774193548387103</cx:pt>
          <cx:pt idx="1827">89.41935483870968</cx:pt>
          <cx:pt idx="1828">89.516129032258064</cx:pt>
          <cx:pt idx="1829">89.645161290322577</cx:pt>
          <cx:pt idx="1830">89.290322580645167</cx:pt>
          <cx:pt idx="1831">89.838709677419359</cx:pt>
          <cx:pt idx="1832">90.129032258064512</cx:pt>
          <cx:pt idx="1833">90.258064516129039</cx:pt>
          <cx:pt idx="1834">90.193548387096769</cx:pt>
          <cx:pt idx="1835">90.483870967741936</cx:pt>
          <cx:pt idx="1836">90.483870967741936</cx:pt>
          <cx:pt idx="1837">90.290322580645167</cx:pt>
          <cx:pt idx="1838">90.161290322580641</cx:pt>
          <cx:pt idx="1839">89.612903225806448</cx:pt>
          <cx:pt idx="1840">89.225806451612897</cx:pt>
          <cx:pt idx="1841">88.806451612903231</cx:pt>
          <cx:pt idx="1842">88.806451612903231</cx:pt>
          <cx:pt idx="1843">89.193548387096769</cx:pt>
          <cx:pt idx="1844">89.645161290322577</cx:pt>
          <cx:pt idx="1845">89.41935483870968</cx:pt>
          <cx:pt idx="1846">89.161290322580641</cx:pt>
          <cx:pt idx="1847">89.096774193548384</cx:pt>
          <cx:pt idx="1848">89.516129032258064</cx:pt>
          <cx:pt idx="1849">89.645161290322577</cx:pt>
          <cx:pt idx="1850">89.677419354838705</cx:pt>
          <cx:pt idx="1851">90.225806451612897</cx:pt>
          <cx:pt idx="1852">90.258064516129039</cx:pt>
          <cx:pt idx="1853">89.967741935483872</cx:pt>
          <cx:pt idx="1854">89.935483870967744</cx:pt>
          <cx:pt idx="1855">90.161290322580641</cx:pt>
          <cx:pt idx="1856">90.064516129032256</cx:pt>
          <cx:pt idx="1857">90.677419354838705</cx:pt>
          <cx:pt idx="1858">90.516129032258064</cx:pt>
          <cx:pt idx="1859">90.193548387096769</cx:pt>
          <cx:pt idx="1860">90.451612903225808</cx:pt>
          <cx:pt idx="1861">90.193548387096769</cx:pt>
          <cx:pt idx="1862">89.677419354838705</cx:pt>
          <cx:pt idx="1863">89.548387096774192</cx:pt>
          <cx:pt idx="1864">89.516129032258064</cx:pt>
          <cx:pt idx="1865">89.161290322580641</cx:pt>
          <cx:pt idx="1866">89.322580645161295</cx:pt>
          <cx:pt idx="1867">89.354838709677423</cx:pt>
          <cx:pt idx="1868">89.741935483870961</cx:pt>
          <cx:pt idx="1869">90.161290322580641</cx:pt>
          <cx:pt idx="1870">90.322580645161295</cx:pt>
          <cx:pt idx="1871">90.806451612903231</cx:pt>
          <cx:pt idx="1872">90.709677419354833</cx:pt>
          <cx:pt idx="1873">90.290322580645167</cx:pt>
          <cx:pt idx="1874">90.483870967741936</cx:pt>
          <cx:pt idx="1875">90</cx:pt>
          <cx:pt idx="1876">90.354838709677423</cx:pt>
          <cx:pt idx="1877">90.548387096774192</cx:pt>
          <cx:pt idx="1878">90.677419354838705</cx:pt>
          <cx:pt idx="1879">90.741935483870961</cx:pt>
          <cx:pt idx="1880">90.935483870967744</cx:pt>
          <cx:pt idx="1881">91.032258064516128</cx:pt>
          <cx:pt idx="1882">90.709677419354833</cx:pt>
          <cx:pt idx="1883">90.741935483870961</cx:pt>
          <cx:pt idx="1884">90.967741935483872</cx:pt>
          <cx:pt idx="1885">91.193548387096769</cx:pt>
          <cx:pt idx="1886">91.516129032258064</cx:pt>
          <cx:pt idx="1887">91.967741935483872</cx:pt>
          <cx:pt idx="1888">91.838709677419359</cx:pt>
          <cx:pt idx="1889">92.548387096774192</cx:pt>
          <cx:pt idx="1890">93.225806451612897</cx:pt>
          <cx:pt idx="1891">93.225806451612897</cx:pt>
          <cx:pt idx="1892">93.870967741935488</cx:pt>
          <cx:pt idx="1893">94.290322580645167</cx:pt>
          <cx:pt idx="1894">94.741935483870961</cx:pt>
          <cx:pt idx="1895">95.064516129032256</cx:pt>
          <cx:pt idx="1896">95.645161290322577</cx:pt>
          <cx:pt idx="1897">95.58064516129032</cx:pt>
          <cx:pt idx="1898">96.096774193548384</cx:pt>
          <cx:pt idx="1899">96.193548387096769</cx:pt>
          <cx:pt idx="1900">96.258064516129039</cx:pt>
          <cx:pt idx="1901">96.774193548387103</cx:pt>
          <cx:pt idx="1902">96.741935483870961</cx:pt>
          <cx:pt idx="1903">97.483870967741936</cx:pt>
          <cx:pt idx="1904">98</cx:pt>
          <cx:pt idx="1905">98.064516129032256</cx:pt>
          <cx:pt idx="1906">98.451612903225808</cx:pt>
          <cx:pt idx="1907">98.612903225806448</cx:pt>
          <cx:pt idx="1908">99.032258064516128</cx:pt>
          <cx:pt idx="1909">99.129032258064512</cx:pt>
          <cx:pt idx="1910">99.161290322580641</cx:pt>
          <cx:pt idx="1911">99.064516129032256</cx:pt>
          <cx:pt idx="1912">98.967741935483872</cx:pt>
          <cx:pt idx="1913">99.387096774193552</cx:pt>
          <cx:pt idx="1914">99.516129032258064</cx:pt>
          <cx:pt idx="1915">99.838709677419359</cx:pt>
          <cx:pt idx="1916">99.903225806451616</cx:pt>
          <cx:pt idx="1917">99.870967741935488</cx:pt>
          <cx:pt idx="1918">100.03225806451613</cx:pt>
          <cx:pt idx="1919">100.29032258064517</cx:pt>
          <cx:pt idx="1920">100.25806451612904</cx:pt>
          <cx:pt idx="1921">100.03225806451613</cx:pt>
          <cx:pt idx="1922">99.903225806451616</cx:pt>
          <cx:pt idx="1923">99.774193548387103</cx:pt>
          <cx:pt idx="1924">99.870967741935488</cx:pt>
          <cx:pt idx="1925">99.838709677419359</cx:pt>
          <cx:pt idx="1926">99.967741935483872</cx:pt>
          <cx:pt idx="1927">100.09677419354838</cx:pt>
          <cx:pt idx="1928">100.16129032258064</cx:pt>
          <cx:pt idx="1929">100.03225806451613</cx:pt>
          <cx:pt idx="1930">99.806451612903231</cx:pt>
          <cx:pt idx="1931">99.741935483870961</cx:pt>
          <cx:pt idx="1932">99.483870967741936</cx:pt>
          <cx:pt idx="1933">99.225806451612897</cx:pt>
          <cx:pt idx="1934">98.774193548387103</cx:pt>
          <cx:pt idx="1935">98.58064516129032</cx:pt>
          <cx:pt idx="1936">98.451612903225808</cx:pt>
          <cx:pt idx="1937">98.387096774193552</cx:pt>
          <cx:pt idx="1938">97.774193548387103</cx:pt>
          <cx:pt idx="1939">97.387096774193552</cx:pt>
          <cx:pt idx="1940">97.290322580645167</cx:pt>
          <cx:pt idx="1941">96.967741935483872</cx:pt>
          <cx:pt idx="1942">96.516129032258064</cx:pt>
          <cx:pt idx="1943">96.483870967741936</cx:pt>
          <cx:pt idx="1944">95.903225806451616</cx:pt>
          <cx:pt idx="1945">95.709677419354833</cx:pt>
          <cx:pt idx="1946">95.645161290322577</cx:pt>
          <cx:pt idx="1947">95.193548387096769</cx:pt>
          <cx:pt idx="1948">94.774193548387103</cx:pt>
          <cx:pt idx="1949">93.967741935483872</cx:pt>
          <cx:pt idx="1950">93.41935483870968</cx:pt>
          <cx:pt idx="1951">92.935483870967744</cx:pt>
          <cx:pt idx="1952">92.806451612903231</cx:pt>
          <cx:pt idx="1953">92.903225806451616</cx:pt>
          <cx:pt idx="1954">92.806451612903231</cx:pt>
          <cx:pt idx="1955">92.58064516129032</cx:pt>
          <cx:pt idx="1956">92.354838709677423</cx:pt>
          <cx:pt idx="1957">91.967741935483872</cx:pt>
          <cx:pt idx="1958">91.290322580645167</cx:pt>
          <cx:pt idx="1959">91.129032258064512</cx:pt>
          <cx:pt idx="1960">90.516129032258064</cx:pt>
          <cx:pt idx="1961">90.032258064516128</cx:pt>
          <cx:pt idx="1962">89.548387096774192</cx:pt>
          <cx:pt idx="1963">89.161290322580641</cx:pt>
          <cx:pt idx="1964">89.516129032258064</cx:pt>
          <cx:pt idx="1965">89.483870967741936</cx:pt>
          <cx:pt idx="1966">89.677419354838705</cx:pt>
          <cx:pt idx="1967">89.322580645161295</cx:pt>
          <cx:pt idx="1968">89.290322580645167</cx:pt>
          <cx:pt idx="1969">89.258064516129039</cx:pt>
          <cx:pt idx="1970">89.41935483870968</cx:pt>
          <cx:pt idx="1971">88.838709677419359</cx:pt>
          <cx:pt idx="1972">88.806451612903231</cx:pt>
          <cx:pt idx="1973">88.935483870967744</cx:pt>
          <cx:pt idx="1974">88.516129032258064</cx:pt>
          <cx:pt idx="1975">88.903225806451616</cx:pt>
          <cx:pt idx="1976">88.516129032258064</cx:pt>
          <cx:pt idx="1977">88.064516129032256</cx:pt>
          <cx:pt idx="1978">87.903225806451616</cx:pt>
          <cx:pt idx="1979">87.774193548387103</cx:pt>
          <cx:pt idx="1980">87.967741935483872</cx:pt>
          <cx:pt idx="1981">88.258064516129039</cx:pt>
          <cx:pt idx="1982">88.41935483870968</cx:pt>
          <cx:pt idx="1983">88.451612903225808</cx:pt>
          <cx:pt idx="1984">88.064516129032256</cx:pt>
          <cx:pt idx="1985">88.290322580645167</cx:pt>
          <cx:pt idx="1986">88.193548387096769</cx:pt>
          <cx:pt idx="1987">88.161290322580641</cx:pt>
          <cx:pt idx="1988">88.161290322580641</cx:pt>
          <cx:pt idx="1989">88.161290322580641</cx:pt>
          <cx:pt idx="1990">88</cx:pt>
          <cx:pt idx="1991">88.064516129032256</cx:pt>
          <cx:pt idx="1992">88.709677419354833</cx:pt>
          <cx:pt idx="1993">89.225806451612897</cx:pt>
          <cx:pt idx="1994">89.354838709677423</cx:pt>
          <cx:pt idx="1995">89.096774193548384</cx:pt>
          <cx:pt idx="1996">89.41935483870968</cx:pt>
          <cx:pt idx="1997">88.967741935483872</cx:pt>
          <cx:pt idx="1998">88.838709677419359</cx:pt>
          <cx:pt idx="1999">88.677419354838705</cx:pt>
          <cx:pt idx="2000">88.806451612903231</cx:pt>
          <cx:pt idx="2001">88.774193548387103</cx:pt>
          <cx:pt idx="2002">89.161290322580641</cx:pt>
          <cx:pt idx="2003">89.354838709677423</cx:pt>
          <cx:pt idx="2004">89.161290322580641</cx:pt>
          <cx:pt idx="2005">89.516129032258064</cx:pt>
          <cx:pt idx="2006">89.064516129032256</cx:pt>
          <cx:pt idx="2007">88.935483870967744</cx:pt>
          <cx:pt idx="2008">88.935483870967744</cx:pt>
          <cx:pt idx="2009">89.032258064516128</cx:pt>
          <cx:pt idx="2010">89.096774193548384</cx:pt>
          <cx:pt idx="2011">88.903225806451616</cx:pt>
          <cx:pt idx="2012">88.645161290322577</cx:pt>
          <cx:pt idx="2013">88.354838709677423</cx:pt>
          <cx:pt idx="2014">88.129032258064512</cx:pt>
          <cx:pt idx="2015">88.193548387096769</cx:pt>
          <cx:pt idx="2016">88.193548387096769</cx:pt>
          <cx:pt idx="2017">88</cx:pt>
          <cx:pt idx="2018">87.903225806451616</cx:pt>
          <cx:pt idx="2019">88</cx:pt>
          <cx:pt idx="2020">88.032258064516128</cx:pt>
          <cx:pt idx="2021">88.258064516129039</cx:pt>
          <cx:pt idx="2022">88.161290322580641</cx:pt>
          <cx:pt idx="2023">87.870967741935488</cx:pt>
          <cx:pt idx="2024">87.774193548387103</cx:pt>
          <cx:pt idx="2025">88.032258064516128</cx:pt>
          <cx:pt idx="2026">87.903225806451616</cx:pt>
          <cx:pt idx="2027">87.903225806451616</cx:pt>
          <cx:pt idx="2028">87.903225806451616</cx:pt>
          <cx:pt idx="2029">87.967741935483872</cx:pt>
          <cx:pt idx="2030">88.193548387096769</cx:pt>
          <cx:pt idx="2031">87.935483870967744</cx:pt>
          <cx:pt idx="2032">87.58064516129032</cx:pt>
          <cx:pt idx="2033">87.193548387096769</cx:pt>
          <cx:pt idx="2034">87.096774193548384</cx:pt>
          <cx:pt idx="2035">87.548387096774192</cx:pt>
          <cx:pt idx="2036">87.677419354838705</cx:pt>
          <cx:pt idx="2037">88.161290322580641</cx:pt>
          <cx:pt idx="2038">88.225806451612897</cx:pt>
          <cx:pt idx="2039">88.741935483870961</cx:pt>
          <cx:pt idx="2040">89.129032258064512</cx:pt>
          <cx:pt idx="2041">89.41935483870968</cx:pt>
          <cx:pt idx="2042">89.516129032258064</cx:pt>
          <cx:pt idx="2043">89.322580645161295</cx:pt>
          <cx:pt idx="2044">89.387096774193552</cx:pt>
          <cx:pt idx="2045">89.225806451612897</cx:pt>
          <cx:pt idx="2046">88.935483870967744</cx:pt>
          <cx:pt idx="2047">88.387096774193552</cx:pt>
          <cx:pt idx="2048">88.677419354838705</cx:pt>
          <cx:pt idx="2049">88.677419354838705</cx:pt>
          <cx:pt idx="2050">88.387096774193552</cx:pt>
          <cx:pt idx="2051">88.741935483870961</cx:pt>
          <cx:pt idx="2052">88.41935483870968</cx:pt>
          <cx:pt idx="2053">88.58064516129032</cx:pt>
          <cx:pt idx="2054">88.225806451612897</cx:pt>
          <cx:pt idx="2055">87.870967741935488</cx:pt>
          <cx:pt idx="2056">87.58064516129032</cx:pt>
          <cx:pt idx="2057">87.483870967741936</cx:pt>
          <cx:pt idx="2058">87.225806451612897</cx:pt>
          <cx:pt idx="2059">87.58064516129032</cx:pt>
          <cx:pt idx="2060">87.870967741935488</cx:pt>
          <cx:pt idx="2061">87.870967741935488</cx:pt>
          <cx:pt idx="2062">88.129032258064512</cx:pt>
          <cx:pt idx="2063">88.483870967741936</cx:pt>
          <cx:pt idx="2064">88.838709677419359</cx:pt>
          <cx:pt idx="2065">88.967741935483872</cx:pt>
          <cx:pt idx="2066">88.709677419354833</cx:pt>
          <cx:pt idx="2067">88.774193548387103</cx:pt>
          <cx:pt idx="2068">88.645161290322577</cx:pt>
          <cx:pt idx="2069">88.903225806451616</cx:pt>
          <cx:pt idx="2070">88.774193548387103</cx:pt>
          <cx:pt idx="2071">88.741935483870961</cx:pt>
          <cx:pt idx="2072">88.516129032258064</cx:pt>
          <cx:pt idx="2073">88.967741935483872</cx:pt>
          <cx:pt idx="2074">89</cx:pt>
          <cx:pt idx="2075">89.064516129032256</cx:pt>
          <cx:pt idx="2076">89.516129032258064</cx:pt>
          <cx:pt idx="2077">89.774193548387103</cx:pt>
          <cx:pt idx="2078">89.677419354838705</cx:pt>
          <cx:pt idx="2079">89.41935483870968</cx:pt>
          <cx:pt idx="2080">89.741935483870961</cx:pt>
          <cx:pt idx="2081">90.129032258064512</cx:pt>
          <cx:pt idx="2082">90.290322580645167</cx:pt>
          <cx:pt idx="2083">90.451612903225808</cx:pt>
          <cx:pt idx="2084">90.838709677419359</cx:pt>
          <cx:pt idx="2085">91.290322580645167</cx:pt>
          <cx:pt idx="2086">91.677419354838705</cx:pt>
          <cx:pt idx="2087">92.032258064516128</cx:pt>
          <cx:pt idx="2088">91.935483870967744</cx:pt>
          <cx:pt idx="2089">92</cx:pt>
          <cx:pt idx="2090">91.677419354838705</cx:pt>
          <cx:pt idx="2091">91.548387096774192</cx:pt>
          <cx:pt idx="2092">91.41935483870968</cx:pt>
          <cx:pt idx="2093">91.709677419354833</cx:pt>
          <cx:pt idx="2094">91.354838709677423</cx:pt>
          <cx:pt idx="2095">91.322580645161295</cx:pt>
          <cx:pt idx="2096">91.129032258064512</cx:pt>
          <cx:pt idx="2097">91.161290322580641</cx:pt>
          <cx:pt idx="2098">90.806451612903231</cx:pt>
          <cx:pt idx="2099">90.451612903225808</cx:pt>
          <cx:pt idx="2100">90.193548387096769</cx:pt>
          <cx:pt idx="2101">90</cx:pt>
          <cx:pt idx="2102">89.58064516129032</cx:pt>
          <cx:pt idx="2103">90.064516129032256</cx:pt>
          <cx:pt idx="2104">89.903225806451616</cx:pt>
          <cx:pt idx="2105">90.322580645161295</cx:pt>
          <cx:pt idx="2106">90.354838709677423</cx:pt>
          <cx:pt idx="2107">89.935483870967744</cx:pt>
          <cx:pt idx="2108">89.903225806451616</cx:pt>
          <cx:pt idx="2109">89.967741935483872</cx:pt>
          <cx:pt idx="2110">90.129032258064512</cx:pt>
          <cx:pt idx="2111">89.870967741935488</cx:pt>
          <cx:pt idx="2112">89.41935483870968</cx:pt>
          <cx:pt idx="2113">89</cx:pt>
          <cx:pt idx="2114">88.677419354838705</cx:pt>
          <cx:pt idx="2115">88.548387096774192</cx:pt>
          <cx:pt idx="2116">88.290322580645167</cx:pt>
          <cx:pt idx="2117">88.193548387096769</cx:pt>
          <cx:pt idx="2118">88.258064516129039</cx:pt>
          <cx:pt idx="2119">88.806451612903231</cx:pt>
          <cx:pt idx="2120">88.870967741935488</cx:pt>
          <cx:pt idx="2121">89.193548387096769</cx:pt>
          <cx:pt idx="2122">89.354838709677423</cx:pt>
          <cx:pt idx="2123">89.387096774193552</cx:pt>
          <cx:pt idx="2124">88.967741935483872</cx:pt>
          <cx:pt idx="2125">89.129032258064512</cx:pt>
          <cx:pt idx="2126">89.064516129032256</cx:pt>
          <cx:pt idx="2127">89.322580645161295</cx:pt>
          <cx:pt idx="2128">89.58064516129032</cx:pt>
          <cx:pt idx="2129">89.870967741935488</cx:pt>
          <cx:pt idx="2130">90.193548387096769</cx:pt>
          <cx:pt idx="2131">90.58064516129032</cx:pt>
          <cx:pt idx="2132">90.774193548387103</cx:pt>
          <cx:pt idx="2133">91.129032258064512</cx:pt>
          <cx:pt idx="2134">90.483870967741936</cx:pt>
          <cx:pt idx="2135">90.193548387096769</cx:pt>
          <cx:pt idx="2136">90.225806451612897</cx:pt>
          <cx:pt idx="2137">90.032258064516128</cx:pt>
          <cx:pt idx="2138">90.258064516129039</cx:pt>
          <cx:pt idx="2139">90.612903225806448</cx:pt>
          <cx:pt idx="2140">90.838709677419359</cx:pt>
          <cx:pt idx="2141">91.096774193548384</cx:pt>
          <cx:pt idx="2142">91.129032258064512</cx:pt>
          <cx:pt idx="2143">91.387096774193552</cx:pt>
          <cx:pt idx="2144">91.677419354838705</cx:pt>
          <cx:pt idx="2145">91.870967741935488</cx:pt>
          <cx:pt idx="2146">91.903225806451616</cx:pt>
          <cx:pt idx="2147">92.225806451612897</cx:pt>
          <cx:pt idx="2148">92.451612903225808</cx:pt>
          <cx:pt idx="2149">92.129032258064512</cx:pt>
          <cx:pt idx="2150">91.645161290322577</cx:pt>
          <cx:pt idx="2151">91.741935483870961</cx:pt>
          <cx:pt idx="2152">91.612903225806448</cx:pt>
          <cx:pt idx="2153">91.161290322580641</cx:pt>
          <cx:pt idx="2154">91.322580645161295</cx:pt>
          <cx:pt idx="2155">91.677419354838705</cx:pt>
          <cx:pt idx="2156">91.58064516129032</cx:pt>
          <cx:pt idx="2157">91.806451612903231</cx:pt>
          <cx:pt idx="2158">91.451612903225808</cx:pt>
          <cx:pt idx="2159">90.967741935483872</cx:pt>
          <cx:pt idx="2160">90.935483870967744</cx:pt>
          <cx:pt idx="2161">90.935483870967744</cx:pt>
          <cx:pt idx="2162">90.967741935483872</cx:pt>
          <cx:pt idx="2163">91.161290322580641</cx:pt>
          <cx:pt idx="2164">91.064516129032256</cx:pt>
          <cx:pt idx="2165">91.387096774193552</cx:pt>
          <cx:pt idx="2166">91.935483870967744</cx:pt>
          <cx:pt idx="2167">91.516129032258064</cx:pt>
          <cx:pt idx="2168">91.58064516129032</cx:pt>
          <cx:pt idx="2169">91.322580645161295</cx:pt>
          <cx:pt idx="2170">90.774193548387103</cx:pt>
          <cx:pt idx="2171">90.903225806451616</cx:pt>
          <cx:pt idx="2172">90.41935483870968</cx:pt>
          <cx:pt idx="2173">90.290322580645167</cx:pt>
          <cx:pt idx="2174">90.032258064516128</cx:pt>
          <cx:pt idx="2175">89.677419354838705</cx:pt>
          <cx:pt idx="2176">90.096774193548384</cx:pt>
          <cx:pt idx="2177">90.161290322580641</cx:pt>
          <cx:pt idx="2178">89.870967741935488</cx:pt>
          <cx:pt idx="2179">89.612903225806448</cx:pt>
          <cx:pt idx="2180">89.354838709677423</cx:pt>
          <cx:pt idx="2181">89.322580645161295</cx:pt>
          <cx:pt idx="2182">89.225806451612897</cx:pt>
          <cx:pt idx="2183">89.129032258064512</cx:pt>
          <cx:pt idx="2184">89.709677419354833</cx:pt>
          <cx:pt idx="2185">89.548387096774192</cx:pt>
          <cx:pt idx="2186">89.58064516129032</cx:pt>
          <cx:pt idx="2187">89.645161290322577</cx:pt>
          <cx:pt idx="2188">89.709677419354833</cx:pt>
          <cx:pt idx="2189">89.967741935483872</cx:pt>
          <cx:pt idx="2190">89.967741935483872</cx:pt>
          <cx:pt idx="2191">89.935483870967744</cx:pt>
          <cx:pt idx="2192">90.032258064516128</cx:pt>
          <cx:pt idx="2193">89.612903225806448</cx:pt>
          <cx:pt idx="2194">89.322580645161295</cx:pt>
          <cx:pt idx="2195">89.129032258064512</cx:pt>
          <cx:pt idx="2196">89.354838709677423</cx:pt>
          <cx:pt idx="2197">89.354838709677423</cx:pt>
          <cx:pt idx="2198">89.58064516129032</cx:pt>
          <cx:pt idx="2199">89.516129032258064</cx:pt>
          <cx:pt idx="2200">89.806451612903231</cx:pt>
          <cx:pt idx="2201">90.387096774193552</cx:pt>
          <cx:pt idx="2202">90.41935483870968</cx:pt>
          <cx:pt idx="2203">90.741935483870961</cx:pt>
          <cx:pt idx="2204">90.58064516129032</cx:pt>
          <cx:pt idx="2205">90.645161290322577</cx:pt>
          <cx:pt idx="2206">91.064516129032256</cx:pt>
          <cx:pt idx="2207">90.58064516129032</cx:pt>
          <cx:pt idx="2208">90.516129032258064</cx:pt>
          <cx:pt idx="2209">90.612903225806448</cx:pt>
          <cx:pt idx="2210">90.451612903225808</cx:pt>
          <cx:pt idx="2211">90.741935483870961</cx:pt>
          <cx:pt idx="2212">90.741935483870961</cx:pt>
          <cx:pt idx="2213">90.516129032258064</cx:pt>
          <cx:pt idx="2214">90.41935483870968</cx:pt>
          <cx:pt idx="2215">89.838709677419359</cx:pt>
          <cx:pt idx="2216">89.903225806451616</cx:pt>
          <cx:pt idx="2217">89.967741935483872</cx:pt>
          <cx:pt idx="2218">90.193548387096769</cx:pt>
          <cx:pt idx="2219">90.096774193548384</cx:pt>
          <cx:pt idx="2220">90.129032258064512</cx:pt>
          <cx:pt idx="2221">90.612903225806448</cx:pt>
          <cx:pt idx="2222">90.451612903225808</cx:pt>
          <cx:pt idx="2223">90.903225806451616</cx:pt>
          <cx:pt idx="2224">91.838709677419359</cx:pt>
          <cx:pt idx="2225">92.548387096774192</cx:pt>
          <cx:pt idx="2226">93.096774193548384</cx:pt>
          <cx:pt idx="2227">93.451612903225808</cx:pt>
          <cx:pt idx="2228">93.806451612903231</cx:pt>
          <cx:pt idx="2229">94.41935483870968</cx:pt>
          <cx:pt idx="2230">95.032258064516128</cx:pt>
          <cx:pt idx="2231">95.612903225806448</cx:pt>
          <cx:pt idx="2232">95.903225806451616</cx:pt>
          <cx:pt idx="2233">96.193548387096769</cx:pt>
          <cx:pt idx="2234">96.516129032258064</cx:pt>
          <cx:pt idx="2235">97.161290322580641</cx:pt>
          <cx:pt idx="2236">98</cx:pt>
          <cx:pt idx="2237">98.516129032258064</cx:pt>
          <cx:pt idx="2238">99.258064516129039</cx:pt>
          <cx:pt idx="2239">99.645161290322577</cx:pt>
          <cx:pt idx="2240">100</cx:pt>
          <cx:pt idx="2241">100.74193548387096</cx:pt>
          <cx:pt idx="2242">101</cx:pt>
          <cx:pt idx="2243">101.58064516129032</cx:pt>
          <cx:pt idx="2244">102.03225806451613</cx:pt>
          <cx:pt idx="2245">103.06451612903226</cx:pt>
          <cx:pt idx="2246">103.70967741935483</cx:pt>
          <cx:pt idx="2247">104.35483870967742</cx:pt>
          <cx:pt idx="2248">104.41935483870968</cx:pt>
          <cx:pt idx="2249">104.6774193548387</cx:pt>
          <cx:pt idx="2250">104.87096774193549</cx:pt>
          <cx:pt idx="2251">105.16129032258064</cx:pt>
          <cx:pt idx="2252">105.25806451612904</cx:pt>
          <cx:pt idx="2253">43.677419354838712</cx:pt>
          <cx:pt idx="2254">46.903225806451616</cx:pt>
          <cx:pt idx="2255">49.903225806451616</cx:pt>
          <cx:pt idx="2256">52.774193548387096</cx:pt>
          <cx:pt idx="2257">55.645161290322584</cx:pt>
          <cx:pt idx="2258">58.645161290322584</cx:pt>
          <cx:pt idx="2259">61.741935483870968</cx:pt>
          <cx:pt idx="2260">64.645161290322577</cx:pt>
          <cx:pt idx="2261">67.451612903225808</cx:pt>
          <cx:pt idx="2262">70.612903225806448</cx:pt>
          <cx:pt idx="2263">73.741935483870961</cx:pt>
          <cx:pt idx="2264">76.903225806451616</cx:pt>
          <cx:pt idx="2265">80.129032258064512</cx:pt>
          <cx:pt idx="2266">82.774193548387103</cx:pt>
          <cx:pt idx="2267">85.870967741935488</cx:pt>
          <cx:pt idx="2268">88.483870967741936</cx:pt>
          <cx:pt idx="2269">91.58064516129032</cx:pt>
          <cx:pt idx="2270">91.322580645161295</cx:pt>
          <cx:pt idx="2271">91.258064516129039</cx:pt>
          <cx:pt idx="2272">90.612903225806448</cx:pt>
          <cx:pt idx="2273">90.677419354838705</cx:pt>
          <cx:pt idx="2274">90.838709677419359</cx:pt>
          <cx:pt idx="2275">90.967741935483872</cx:pt>
          <cx:pt idx="2276">90.548387096774192</cx:pt>
          <cx:pt idx="2277">91.129032258064512</cx:pt>
          <cx:pt idx="2278">91.032258064516128</cx:pt>
          <cx:pt idx="2279">91.193548387096769</cx:pt>
          <cx:pt idx="2280">91.225806451612897</cx:pt>
          <cx:pt idx="2281">91.129032258064512</cx:pt>
          <cx:pt idx="2282">91.258064516129039</cx:pt>
          <cx:pt idx="2283">91.032258064516128</cx:pt>
          <cx:pt idx="2284">90.645161290322577</cx:pt>
          <cx:pt idx="2285">90.032258064516128</cx:pt>
          <cx:pt idx="2286">89.709677419354833</cx:pt>
          <cx:pt idx="2287">89.741935483870961</cx:pt>
          <cx:pt idx="2288">89.58064516129032</cx:pt>
          <cx:pt idx="2289">89.193548387096769</cx:pt>
          <cx:pt idx="2290">88.741935483870961</cx:pt>
          <cx:pt idx="2291">88.677419354838705</cx:pt>
          <cx:pt idx="2292">88.483870967741936</cx:pt>
          <cx:pt idx="2293">88.193548387096769</cx:pt>
          <cx:pt idx="2294">87.741935483870961</cx:pt>
          <cx:pt idx="2295">87.483870967741936</cx:pt>
          <cx:pt idx="2296">87.354838709677423</cx:pt>
          <cx:pt idx="2297">87.58064516129032</cx:pt>
          <cx:pt idx="2298">87.612903225806448</cx:pt>
          <cx:pt idx="2299">88.032258064516128</cx:pt>
          <cx:pt idx="2300">87.903225806451616</cx:pt>
          <cx:pt idx="2301">87.806451612903231</cx:pt>
          <cx:pt idx="2302">87.870967741935488</cx:pt>
          <cx:pt idx="2303">88.387096774193552</cx:pt>
          <cx:pt idx="2304">88.193548387096769</cx:pt>
          <cx:pt idx="2305">88.193548387096769</cx:pt>
          <cx:pt idx="2306">87.935483870967744</cx:pt>
          <cx:pt idx="2307">88.290322580645167</cx:pt>
          <cx:pt idx="2308">87.677419354838705</cx:pt>
          <cx:pt idx="2309">88</cx:pt>
          <cx:pt idx="2310">87.58064516129032</cx:pt>
          <cx:pt idx="2311">87.483870967741936</cx:pt>
          <cx:pt idx="2312">87.354838709677423</cx:pt>
          <cx:pt idx="2313">87.41935483870968</cx:pt>
          <cx:pt idx="2314">87.967741935483872</cx:pt>
          <cx:pt idx="2315">88.096774193548384</cx:pt>
          <cx:pt idx="2316">88.612903225806448</cx:pt>
          <cx:pt idx="2317">88.677419354838705</cx:pt>
          <cx:pt idx="2318">88.677419354838705</cx:pt>
          <cx:pt idx="2319">89</cx:pt>
          <cx:pt idx="2320">89.032258064516128</cx:pt>
          <cx:pt idx="2321">89.58064516129032</cx:pt>
          <cx:pt idx="2322">89.741935483870961</cx:pt>
          <cx:pt idx="2323">90.322580645161295</cx:pt>
          <cx:pt idx="2324">90.032258064516128</cx:pt>
          <cx:pt idx="2325">89.967741935483872</cx:pt>
          <cx:pt idx="2326">89.677419354838705</cx:pt>
          <cx:pt idx="2327">89.322580645161295</cx:pt>
          <cx:pt idx="2328">89.161290322580641</cx:pt>
          <cx:pt idx="2329">89.032258064516128</cx:pt>
          <cx:pt idx="2330">88.935483870967744</cx:pt>
          <cx:pt idx="2331">88.645161290322577</cx:pt>
          <cx:pt idx="2332">88.774193548387103</cx:pt>
          <cx:pt idx="2333">89.032258064516128</cx:pt>
          <cx:pt idx="2334">89.064516129032256</cx:pt>
          <cx:pt idx="2335">89.225806451612897</cx:pt>
          <cx:pt idx="2336">89.322580645161295</cx:pt>
          <cx:pt idx="2337">89.129032258064512</cx:pt>
          <cx:pt idx="2338">88.935483870967744</cx:pt>
          <cx:pt idx="2339">89.129032258064512</cx:pt>
          <cx:pt idx="2340">88.870967741935488</cx:pt>
          <cx:pt idx="2341">88.935483870967744</cx:pt>
          <cx:pt idx="2342">89.451612903225808</cx:pt>
          <cx:pt idx="2343">89.387096774193552</cx:pt>
          <cx:pt idx="2344">89.612903225806448</cx:pt>
          <cx:pt idx="2345">89.58064516129032</cx:pt>
          <cx:pt idx="2346">89.58064516129032</cx:pt>
          <cx:pt idx="2347">89.41935483870968</cx:pt>
          <cx:pt idx="2348">89.258064516129039</cx:pt>
          <cx:pt idx="2349">89.58064516129032</cx:pt>
          <cx:pt idx="2350">89.58064516129032</cx:pt>
          <cx:pt idx="2351">89.838709677419359</cx:pt>
          <cx:pt idx="2352">89.612903225806448</cx:pt>
          <cx:pt idx="2353">89.225806451612897</cx:pt>
          <cx:pt idx="2354">88.967741935483872</cx:pt>
          <cx:pt idx="2355">89.451612903225808</cx:pt>
          <cx:pt idx="2356">90.064516129032256</cx:pt>
          <cx:pt idx="2357">90.483870967741936</cx:pt>
          <cx:pt idx="2358">90.806451612903231</cx:pt>
          <cx:pt idx="2359">90.741935483870961</cx:pt>
          <cx:pt idx="2360">90.58064516129032</cx:pt>
          <cx:pt idx="2361">90.387096774193552</cx:pt>
          <cx:pt idx="2362">90.483870967741936</cx:pt>
          <cx:pt idx="2363">90.741935483870961</cx:pt>
          <cx:pt idx="2364">90.645161290322577</cx:pt>
          <cx:pt idx="2365">90.516129032258064</cx:pt>
          <cx:pt idx="2366">90.129032258064512</cx:pt>
          <cx:pt idx="2367">90.225806451612897</cx:pt>
          <cx:pt idx="2368">90.516129032258064</cx:pt>
          <cx:pt idx="2369">90.516129032258064</cx:pt>
          <cx:pt idx="2370">90.612903225806448</cx:pt>
          <cx:pt idx="2371">90.700000000000003</cx:pt>
          <cx:pt idx="2372">90.965517241379317</cx:pt>
          <cx:pt idx="2373">90.785714285714292</cx:pt>
          <cx:pt idx="2374">91.148148148148152</cx:pt>
          <cx:pt idx="2375">91.07692307692308</cx:pt>
          <cx:pt idx="2376">90.799999999999997</cx:pt>
          <cx:pt idx="2377">91.083333333333329</cx:pt>
          <cx:pt idx="2378">91.043478260869563</cx:pt>
          <cx:pt idx="2379">91.545454545454547</cx:pt>
          <cx:pt idx="2380">91.142857142857139</cx:pt>
          <cx:pt idx="2381">91</cx:pt>
          <cx:pt idx="2382">91.05263157894737</cx:pt>
          <cx:pt idx="2383">91</cx:pt>
          <cx:pt idx="2384">91.588235294117652</cx:pt>
          <cx:pt idx="2385">91.625</cx:pt>
          <cx:pt idx="2386">91.400000000000006</cx:pt>
          <cx:pt idx="2387">90.785714285714292</cx:pt>
          <cx:pt idx="2388">90.538461538461533</cx:pt>
          <cx:pt idx="2389">90.166666666666671</cx:pt>
          <cx:pt idx="2390">90.909090909090907</cx:pt>
          <cx:pt idx="2391">91.200000000000003</cx:pt>
          <cx:pt idx="2392">91.888888888888886</cx:pt>
          <cx:pt idx="2393">92.625</cx:pt>
          <cx:pt idx="2394">91.714285714285708</cx:pt>
          <cx:pt idx="2395">91.333333333333329</cx:pt>
          <cx:pt idx="2396">91</cx:pt>
          <cx:pt idx="2397">92</cx:pt>
          <cx:pt idx="2398">89.333333333333329</cx:pt>
          <cx:pt idx="2399">89.5</cx:pt>
          <cx:pt idx="2400">90</cx:pt>
        </cx:lvl>
      </cx:numDim>
    </cx:data>
    <cx:data id="3">
      <cx:numDim type="val">
        <cx:f>'DRT Rolling Mean'!$F$2:$F$1048576</cx:f>
        <cx:lvl ptCount="2401" formatCode="#,##0.00">
          <cx:pt idx="0">202.74193548387098</cx:pt>
          <cx:pt idx="1">203.09677419354838</cx:pt>
          <cx:pt idx="2">202.41935483870967</cx:pt>
          <cx:pt idx="3">201.70967741935485</cx:pt>
          <cx:pt idx="4">201.74193548387098</cx:pt>
          <cx:pt idx="5">201.70967741935485</cx:pt>
          <cx:pt idx="6">201.45161290322579</cx:pt>
          <cx:pt idx="7">200.7741935483871</cx:pt>
          <cx:pt idx="8">200.35483870967741</cx:pt>
          <cx:pt idx="9">200.45161290322579</cx:pt>
          <cx:pt idx="10">201.41935483870967</cx:pt>
          <cx:pt idx="11">201.2258064516129</cx:pt>
          <cx:pt idx="12">201.09677419354838</cx:pt>
          <cx:pt idx="13">200.87096774193549</cx:pt>
          <cx:pt idx="14">201.2258064516129</cx:pt>
          <cx:pt idx="15">201.83870967741936</cx:pt>
          <cx:pt idx="16">201.96774193548387</cx:pt>
          <cx:pt idx="17">202</cx:pt>
          <cx:pt idx="18">202.16129032258064</cx:pt>
          <cx:pt idx="19">202.45161290322579</cx:pt>
          <cx:pt idx="20">202.16129032258064</cx:pt>
          <cx:pt idx="21">201.74193548387098</cx:pt>
          <cx:pt idx="22">201.35483870967741</cx:pt>
          <cx:pt idx="23">201.19354838709677</cx:pt>
          <cx:pt idx="24">200.67741935483872</cx:pt>
          <cx:pt idx="25">200.38709677419354</cx:pt>
          <cx:pt idx="26">200.06451612903226</cx:pt>
          <cx:pt idx="27">199.64516129032259</cx:pt>
          <cx:pt idx="28">198.96774193548387</cx:pt>
          <cx:pt idx="29">198.83870967741936</cx:pt>
          <cx:pt idx="30">198.54838709677421</cx:pt>
          <cx:pt idx="31">198.25806451612902</cx:pt>
          <cx:pt idx="32">197.7741935483871</cx:pt>
          <cx:pt idx="33">198.48387096774192</cx:pt>
          <cx:pt idx="34">198.45161290322579</cx:pt>
          <cx:pt idx="35">199.16129032258064</cx:pt>
          <cx:pt idx="36">198.90322580645162</cx:pt>
          <cx:pt idx="37">198.2258064516129</cx:pt>
          <cx:pt idx="38">198.25806451612902</cx:pt>
          <cx:pt idx="39">198.25806451612902</cx:pt>
          <cx:pt idx="40">199</cx:pt>
          <cx:pt idx="41">198.41935483870967</cx:pt>
          <cx:pt idx="42">197.93548387096774</cx:pt>
          <cx:pt idx="43">198.38709677419354</cx:pt>
          <cx:pt idx="44">198.67741935483872</cx:pt>
          <cx:pt idx="45">198.32258064516128</cx:pt>
          <cx:pt idx="46">198.09677419354838</cx:pt>
          <cx:pt idx="47">197.96774193548387</cx:pt>
          <cx:pt idx="48">198.29032258064515</cx:pt>
          <cx:pt idx="49">198.80645161290323</cx:pt>
          <cx:pt idx="50">199.74193548387098</cx:pt>
          <cx:pt idx="51">200.2258064516129</cx:pt>
          <cx:pt idx="52">199.7741935483871</cx:pt>
          <cx:pt idx="53">199.2258064516129</cx:pt>
          <cx:pt idx="54">199.16129032258064</cx:pt>
          <cx:pt idx="55">199.29032258064515</cx:pt>
          <cx:pt idx="56">198.7741935483871</cx:pt>
          <cx:pt idx="57">199.45161290322579</cx:pt>
          <cx:pt idx="58">199.32258064516128</cx:pt>
          <cx:pt idx="59">199.06451612903226</cx:pt>
          <cx:pt idx="60">198.74193548387098</cx:pt>
          <cx:pt idx="61">199.29032258064515</cx:pt>
          <cx:pt idx="62">200.2258064516129</cx:pt>
          <cx:pt idx="63">200.70967741935485</cx:pt>
          <cx:pt idx="64">199.87096774193549</cx:pt>
          <cx:pt idx="65">200.41935483870967</cx:pt>
          <cx:pt idx="66">199.90322580645162</cx:pt>
          <cx:pt idx="67">200.67741935483872</cx:pt>
          <cx:pt idx="68">201.25806451612902</cx:pt>
          <cx:pt idx="69">201.48387096774192</cx:pt>
          <cx:pt idx="70">202.45161290322579</cx:pt>
          <cx:pt idx="71">201.90322580645162</cx:pt>
          <cx:pt idx="72">201.67741935483872</cx:pt>
          <cx:pt idx="73">202.35483870967741</cx:pt>
          <cx:pt idx="74">202.41935483870967</cx:pt>
          <cx:pt idx="75">201.2258064516129</cx:pt>
          <cx:pt idx="76">201.06451612903226</cx:pt>
          <cx:pt idx="77">200.58064516129033</cx:pt>
          <cx:pt idx="78">200.7741935483871</cx:pt>
          <cx:pt idx="79">200.80645161290323</cx:pt>
          <cx:pt idx="80">200.58064516129033</cx:pt>
          <cx:pt idx="81">199.41935483870967</cx:pt>
          <cx:pt idx="82">200.03225806451613</cx:pt>
          <cx:pt idx="83">200.74193548387098</cx:pt>
          <cx:pt idx="84">201.64516129032259</cx:pt>
          <cx:pt idx="85">201.09677419354838</cx:pt>
          <cx:pt idx="86">201.87096774193549</cx:pt>
          <cx:pt idx="87">201.61290322580646</cx:pt>
          <cx:pt idx="88">202.12903225806451</cx:pt>
          <cx:pt idx="89">202.83870967741936</cx:pt>
          <cx:pt idx="90">203.41935483870967</cx:pt>
          <cx:pt idx="91">202.80645161290323</cx:pt>
          <cx:pt idx="92">201.93548387096774</cx:pt>
          <cx:pt idx="93">202</cx:pt>
          <cx:pt idx="94">200.93548387096774</cx:pt>
          <cx:pt idx="95">201.38709677419354</cx:pt>
          <cx:pt idx="96">201.29032258064515</cx:pt>
          <cx:pt idx="97">201.45161290322579</cx:pt>
          <cx:pt idx="98">200.90322580645162</cx:pt>
          <cx:pt idx="99">200.54838709677421</cx:pt>
          <cx:pt idx="100">200.74193548387098</cx:pt>
          <cx:pt idx="101">200.19354838709677</cx:pt>
          <cx:pt idx="102">200.7741935483871</cx:pt>
          <cx:pt idx="103">200.61290322580646</cx:pt>
          <cx:pt idx="104">199.80645161290323</cx:pt>
          <cx:pt idx="105">199.67741935483872</cx:pt>
          <cx:pt idx="106">200.41935483870967</cx:pt>
          <cx:pt idx="107">201.58064516129033</cx:pt>
          <cx:pt idx="108">201.58064516129033</cx:pt>
          <cx:pt idx="109">201.74193548387098</cx:pt>
          <cx:pt idx="110">201.67741935483872</cx:pt>
          <cx:pt idx="111">200.80645161290323</cx:pt>
          <cx:pt idx="112">200.70967741935485</cx:pt>
          <cx:pt idx="113">200.70967741935485</cx:pt>
          <cx:pt idx="114">199.61290322580646</cx:pt>
          <cx:pt idx="115">199.70967741935485</cx:pt>
          <cx:pt idx="116">199.38709677419354</cx:pt>
          <cx:pt idx="117">198.67741935483872</cx:pt>
          <cx:pt idx="118">199.58064516129033</cx:pt>
          <cx:pt idx="119">198.32258064516128</cx:pt>
          <cx:pt idx="120">198.2258064516129</cx:pt>
          <cx:pt idx="121">198.09677419354838</cx:pt>
          <cx:pt idx="122">198.67741935483872</cx:pt>
          <cx:pt idx="123">198.45161290322579</cx:pt>
          <cx:pt idx="124">198</cx:pt>
          <cx:pt idx="125">198.90322580645162</cx:pt>
          <cx:pt idx="126">199.12903225806451</cx:pt>
          <cx:pt idx="127">199.67741935483872</cx:pt>
          <cx:pt idx="128">199.70967741935485</cx:pt>
          <cx:pt idx="129">199.7741935483871</cx:pt>
          <cx:pt idx="130">200.2258064516129</cx:pt>
          <cx:pt idx="131">200.70967741935485</cx:pt>
          <cx:pt idx="132">201.35483870967741</cx:pt>
          <cx:pt idx="133">200.83870967741936</cx:pt>
          <cx:pt idx="134">201.58064516129033</cx:pt>
          <cx:pt idx="135">202.29032258064515</cx:pt>
          <cx:pt idx="136">201.70967741935485</cx:pt>
          <cx:pt idx="137">201.29032258064515</cx:pt>
          <cx:pt idx="138">201.12903225806451</cx:pt>
          <cx:pt idx="139">201.61290322580646</cx:pt>
          <cx:pt idx="140">201.35483870967741</cx:pt>
          <cx:pt idx="141">201.51612903225808</cx:pt>
          <cx:pt idx="142">201.96774193548387</cx:pt>
          <cx:pt idx="143">202.09677419354838</cx:pt>
          <cx:pt idx="144">201.67741935483872</cx:pt>
          <cx:pt idx="145">202.32258064516128</cx:pt>
          <cx:pt idx="146">202.38709677419354</cx:pt>
          <cx:pt idx="147">202.7741935483871</cx:pt>
          <cx:pt idx="148">203.06451612903226</cx:pt>
          <cx:pt idx="149">202.03225806451613</cx:pt>
          <cx:pt idx="150">202.93548387096774</cx:pt>
          <cx:pt idx="151">202.74193548387098</cx:pt>
          <cx:pt idx="152">203.2258064516129</cx:pt>
          <cx:pt idx="153">203.25806451612902</cx:pt>
          <cx:pt idx="154">203.7741935483871</cx:pt>
          <cx:pt idx="155">203.90322580645162</cx:pt>
          <cx:pt idx="156">203.48387096774192</cx:pt>
          <cx:pt idx="157">202.74193548387098</cx:pt>
          <cx:pt idx="158">202.03225806451613</cx:pt>
          <cx:pt idx="159">202.32258064516128</cx:pt>
          <cx:pt idx="160">202.67741935483872</cx:pt>
          <cx:pt idx="161">202.83870967741936</cx:pt>
          <cx:pt idx="162">202.16129032258064</cx:pt>
          <cx:pt idx="163">201.45161290322579</cx:pt>
          <cx:pt idx="164">201.35483870967741</cx:pt>
          <cx:pt idx="165">200.32258064516128</cx:pt>
          <cx:pt idx="166">200.48387096774192</cx:pt>
          <cx:pt idx="167">201.2258064516129</cx:pt>
          <cx:pt idx="168">201.06451612903226</cx:pt>
          <cx:pt idx="169">200</cx:pt>
          <cx:pt idx="170">199.83870967741936</cx:pt>
          <cx:pt idx="171">200.83870967741936</cx:pt>
          <cx:pt idx="172">200</cx:pt>
          <cx:pt idx="173">199.90322580645162</cx:pt>
          <cx:pt idx="174">200.64516129032259</cx:pt>
          <cx:pt idx="175">200.58064516129033</cx:pt>
          <cx:pt idx="176">199.93548387096774</cx:pt>
          <cx:pt idx="177">199.67741935483872</cx:pt>
          <cx:pt idx="178">200.19354838709677</cx:pt>
          <cx:pt idx="179">199.87096774193549</cx:pt>
          <cx:pt idx="180">201.09677419354838</cx:pt>
          <cx:pt idx="181">201.29032258064515</cx:pt>
          <cx:pt idx="182">200.90322580645162</cx:pt>
          <cx:pt idx="183">200.12903225806451</cx:pt>
          <cx:pt idx="184">199.51612903225808</cx:pt>
          <cx:pt idx="185">200.03225806451613</cx:pt>
          <cx:pt idx="186">200.12903225806451</cx:pt>
          <cx:pt idx="187">200.38709677419354</cx:pt>
          <cx:pt idx="188">201.09677419354838</cx:pt>
          <cx:pt idx="189">200.67741935483872</cx:pt>
          <cx:pt idx="190">200.90322580645162</cx:pt>
          <cx:pt idx="191">201.09677419354838</cx:pt>
          <cx:pt idx="192">200.03225806451613</cx:pt>
          <cx:pt idx="193">199.48387096774192</cx:pt>
          <cx:pt idx="194">200.09677419354838</cx:pt>
          <cx:pt idx="195">199.64516129032259</cx:pt>
          <cx:pt idx="196">199.96774193548387</cx:pt>
          <cx:pt idx="197">199.09677419354838</cx:pt>
          <cx:pt idx="198">198.93548387096774</cx:pt>
          <cx:pt idx="199">198.7741935483871</cx:pt>
          <cx:pt idx="200">199.48387096774192</cx:pt>
          <cx:pt idx="201">199.70967741935485</cx:pt>
          <cx:pt idx="202">199.74193548387098</cx:pt>
          <cx:pt idx="203">199.96774193548387</cx:pt>
          <cx:pt idx="204">199.80645161290323</cx:pt>
          <cx:pt idx="205">199.51612903225808</cx:pt>
          <cx:pt idx="206">200</cx:pt>
          <cx:pt idx="207">200.38709677419354</cx:pt>
          <cx:pt idx="208">199.80645161290323</cx:pt>
          <cx:pt idx="209">199.45161290322579</cx:pt>
          <cx:pt idx="210">199.06451612903226</cx:pt>
          <cx:pt idx="211">198.38709677419354</cx:pt>
          <cx:pt idx="212">198.58064516129033</cx:pt>
          <cx:pt idx="213">199.70967741935485</cx:pt>
          <cx:pt idx="214">201.06451612903226</cx:pt>
          <cx:pt idx="215">202.41935483870967</cx:pt>
          <cx:pt idx="216">203.03225806451613</cx:pt>
          <cx:pt idx="217">203.93548387096774</cx:pt>
          <cx:pt idx="218">204.96774193548387</cx:pt>
          <cx:pt idx="219">206.03225806451613</cx:pt>
          <cx:pt idx="220">207.70967741935485</cx:pt>
          <cx:pt idx="221">208.16129032258064</cx:pt>
          <cx:pt idx="222">208.64516129032259</cx:pt>
          <cx:pt idx="223">210.38709677419354</cx:pt>
          <cx:pt idx="224">211.70967741935485</cx:pt>
          <cx:pt idx="225">212.35483870967741</cx:pt>
          <cx:pt idx="226">214.16129032258064</cx:pt>
          <cx:pt idx="227">215.2258064516129</cx:pt>
          <cx:pt idx="228">216.93548387096774</cx:pt>
          <cx:pt idx="229">217.41935483870967</cx:pt>
          <cx:pt idx="230">219.19354838709677</cx:pt>
          <cx:pt idx="231">220.2258064516129</cx:pt>
          <cx:pt idx="232">220.61290322580646</cx:pt>
          <cx:pt idx="233">220.64516129032259</cx:pt>
          <cx:pt idx="234">221.90322580645162</cx:pt>
          <cx:pt idx="235">223.03225806451613</cx:pt>
          <cx:pt idx="236">223.74193548387098</cx:pt>
          <cx:pt idx="237">224.38709677419354</cx:pt>
          <cx:pt idx="238">225.58064516129033</cx:pt>
          <cx:pt idx="239">226.67741935483872</cx:pt>
          <cx:pt idx="240">227.29032258064515</cx:pt>
          <cx:pt idx="241">229.09677419354838</cx:pt>
          <cx:pt idx="242">230.41935483870967</cx:pt>
          <cx:pt idx="243">230.74193548387098</cx:pt>
          <cx:pt idx="244">230.80645161290323</cx:pt>
          <cx:pt idx="245">230.45161290322579</cx:pt>
          <cx:pt idx="246">230.45161290322579</cx:pt>
          <cx:pt idx="247">230.29032258064515</cx:pt>
          <cx:pt idx="248">230.29032258064515</cx:pt>
          <cx:pt idx="249">229.96774193548387</cx:pt>
          <cx:pt idx="250">229.41935483870967</cx:pt>
          <cx:pt idx="251">229.06451612903226</cx:pt>
          <cx:pt idx="252">228.70967741935485</cx:pt>
          <cx:pt idx="253">228.90322580645162</cx:pt>
          <cx:pt idx="254">228.38709677419354</cx:pt>
          <cx:pt idx="255">228.80645161290323</cx:pt>
          <cx:pt idx="256">228.80645161290323</cx:pt>
          <cx:pt idx="257">227.61290322580646</cx:pt>
          <cx:pt idx="258">226.83870967741936</cx:pt>
          <cx:pt idx="259">226</cx:pt>
          <cx:pt idx="260">225.7741935483871</cx:pt>
          <cx:pt idx="261">224.32258064516128</cx:pt>
          <cx:pt idx="262">222.74193548387098</cx:pt>
          <cx:pt idx="263">222.45161290322579</cx:pt>
          <cx:pt idx="264">221.80645161290323</cx:pt>
          <cx:pt idx="265">221.06451612903226</cx:pt>
          <cx:pt idx="266">221.03225806451613</cx:pt>
          <cx:pt idx="267">220.70967741935485</cx:pt>
          <cx:pt idx="268">219.58064516129033</cx:pt>
          <cx:pt idx="269">218.70967741935485</cx:pt>
          <cx:pt idx="270">217.83870967741936</cx:pt>
          <cx:pt idx="271">217.48387096774192</cx:pt>
          <cx:pt idx="272">215.58064516129033</cx:pt>
          <cx:pt idx="273">215</cx:pt>
          <cx:pt idx="274">214.38709677419354</cx:pt>
          <cx:pt idx="275">213.67741935483872</cx:pt>
          <cx:pt idx="276">213.35483870967741</cx:pt>
          <cx:pt idx="277">213.19354838709677</cx:pt>
          <cx:pt idx="278">211.61290322580646</cx:pt>
          <cx:pt idx="279">210.51612903225808</cx:pt>
          <cx:pt idx="280">210.12903225806451</cx:pt>
          <cx:pt idx="281">208.74193548387098</cx:pt>
          <cx:pt idx="282">207.48387096774192</cx:pt>
          <cx:pt idx="283">207.2258064516129</cx:pt>
          <cx:pt idx="284">206.58064516129033</cx:pt>
          <cx:pt idx="285">206.38709677419354</cx:pt>
          <cx:pt idx="286">205</cx:pt>
          <cx:pt idx="287">204.48387096774192</cx:pt>
          <cx:pt idx="288">204.25806451612902</cx:pt>
          <cx:pt idx="289">204.90322580645162</cx:pt>
          <cx:pt idx="290">205</cx:pt>
          <cx:pt idx="291">203.93548387096774</cx:pt>
          <cx:pt idx="292">204</cx:pt>
          <cx:pt idx="293">204.38709677419354</cx:pt>
          <cx:pt idx="294">204.29032258064515</cx:pt>
          <cx:pt idx="295">203.70967741935485</cx:pt>
          <cx:pt idx="296">202.87096774193549</cx:pt>
          <cx:pt idx="297">201.90322580645162</cx:pt>
          <cx:pt idx="298">201.32258064516128</cx:pt>
          <cx:pt idx="299">201.51612903225808</cx:pt>
          <cx:pt idx="300">201.7741935483871</cx:pt>
          <cx:pt idx="301">201.19354838709677</cx:pt>
          <cx:pt idx="302">200.74193548387098</cx:pt>
          <cx:pt idx="303">200.83870967741936</cx:pt>
          <cx:pt idx="304">199.7741935483871</cx:pt>
          <cx:pt idx="305">198.7741935483871</cx:pt>
          <cx:pt idx="306">198.32258064516128</cx:pt>
          <cx:pt idx="307">197.48387096774192</cx:pt>
          <cx:pt idx="308">197.12903225806451</cx:pt>
          <cx:pt idx="309">197.16129032258064</cx:pt>
          <cx:pt idx="310">196.7741935483871</cx:pt>
          <cx:pt idx="311">195.58064516129033</cx:pt>
          <cx:pt idx="312">195.96774193548387</cx:pt>
          <cx:pt idx="313">196.06451612903226</cx:pt>
          <cx:pt idx="314">195.06451612903226</cx:pt>
          <cx:pt idx="315">195.2258064516129</cx:pt>
          <cx:pt idx="316">194.35483870967741</cx:pt>
          <cx:pt idx="317">194.64516129032259</cx:pt>
          <cx:pt idx="318">193.64516129032259</cx:pt>
          <cx:pt idx="319">194.51612903225808</cx:pt>
          <cx:pt idx="320">193.83870967741936</cx:pt>
          <cx:pt idx="321">193.19354838709677</cx:pt>
          <cx:pt idx="322">194.03225806451613</cx:pt>
          <cx:pt idx="323">194.45161290322579</cx:pt>
          <cx:pt idx="324">195.09677419354838</cx:pt>
          <cx:pt idx="325">194.48387096774192</cx:pt>
          <cx:pt idx="326">195.67741935483872</cx:pt>
          <cx:pt idx="327">196.67741935483872</cx:pt>
          <cx:pt idx="328">197.58064516129033</cx:pt>
          <cx:pt idx="329">198.16129032258064</cx:pt>
          <cx:pt idx="330">197.70967741935485</cx:pt>
          <cx:pt idx="331">197.51612903225808</cx:pt>
          <cx:pt idx="332">197.93548387096774</cx:pt>
          <cx:pt idx="333">197.80645161290323</cx:pt>
          <cx:pt idx="334">197.96774193548387</cx:pt>
          <cx:pt idx="335">197.90322580645162</cx:pt>
          <cx:pt idx="336">198.90322580645162</cx:pt>
          <cx:pt idx="337">198.74193548387098</cx:pt>
          <cx:pt idx="338">199.29032258064515</cx:pt>
          <cx:pt idx="339">199.35483870967741</cx:pt>
          <cx:pt idx="340">200.16129032258064</cx:pt>
          <cx:pt idx="341">200.32258064516128</cx:pt>
          <cx:pt idx="342">201.48387096774192</cx:pt>
          <cx:pt idx="343">201.19354838709677</cx:pt>
          <cx:pt idx="344">201.70967741935485</cx:pt>
          <cx:pt idx="345">201.70967741935485</cx:pt>
          <cx:pt idx="346">201.29032258064515</cx:pt>
          <cx:pt idx="347">201</cx:pt>
          <cx:pt idx="348">200.32258064516128</cx:pt>
          <cx:pt idx="349">200.41935483870967</cx:pt>
          <cx:pt idx="350">200.25806451612902</cx:pt>
          <cx:pt idx="351">200.38709677419354</cx:pt>
          <cx:pt idx="352">200.19354838709677</cx:pt>
          <cx:pt idx="353">199.74193548387098</cx:pt>
          <cx:pt idx="354">199.06451612903226</cx:pt>
          <cx:pt idx="355">198.93548387096774</cx:pt>
          <cx:pt idx="356">199.70967741935485</cx:pt>
          <cx:pt idx="357">198.83870967741936</cx:pt>
          <cx:pt idx="358">197.90322580645162</cx:pt>
          <cx:pt idx="359">197.90322580645162</cx:pt>
          <cx:pt idx="360">197.38709677419354</cx:pt>
          <cx:pt idx="361">198.12903225806451</cx:pt>
          <cx:pt idx="362">197.45161290322579</cx:pt>
          <cx:pt idx="363">197.70967741935485</cx:pt>
          <cx:pt idx="364">197.41935483870967</cx:pt>
          <cx:pt idx="365">197.70967741935485</cx:pt>
          <cx:pt idx="366">197.61290322580646</cx:pt>
          <cx:pt idx="367">197.74193548387098</cx:pt>
          <cx:pt idx="368">198.48387096774192</cx:pt>
          <cx:pt idx="369">199.06451612903226</cx:pt>
          <cx:pt idx="370">198.7741935483871</cx:pt>
          <cx:pt idx="371">198.35483870967741</cx:pt>
          <cx:pt idx="372">199.03225806451613</cx:pt>
          <cx:pt idx="373">197.83870967741936</cx:pt>
          <cx:pt idx="374">198.96774193548387</cx:pt>
          <cx:pt idx="375">199.38709677419354</cx:pt>
          <cx:pt idx="376">199.80645161290323</cx:pt>
          <cx:pt idx="377">200.06451612903226</cx:pt>
          <cx:pt idx="378">200.61290322580646</cx:pt>
          <cx:pt idx="379">201.03225806451613</cx:pt>
          <cx:pt idx="380">201.67741935483872</cx:pt>
          <cx:pt idx="381">201.29032258064515</cx:pt>
          <cx:pt idx="382">201.87096774193549</cx:pt>
          <cx:pt idx="383">202</cx:pt>
          <cx:pt idx="384">202.67741935483872</cx:pt>
          <cx:pt idx="385">203.70967741935485</cx:pt>
          <cx:pt idx="386">203.67741935483872</cx:pt>
          <cx:pt idx="387">203.41935483870967</cx:pt>
          <cx:pt idx="388">204.03225806451613</cx:pt>
          <cx:pt idx="389">204.48387096774192</cx:pt>
          <cx:pt idx="390">203.67741935483872</cx:pt>
          <cx:pt idx="391">204.38709677419354</cx:pt>
          <cx:pt idx="392">203.38709677419354</cx:pt>
          <cx:pt idx="393">203.45161290322579</cx:pt>
          <cx:pt idx="394">203.2258064516129</cx:pt>
          <cx:pt idx="395">203.7741935483871</cx:pt>
          <cx:pt idx="396">204.38709677419354</cx:pt>
          <cx:pt idx="397">205.48387096774192</cx:pt>
          <cx:pt idx="398">205.12903225806451</cx:pt>
          <cx:pt idx="399">204.29032258064515</cx:pt>
          <cx:pt idx="400">203.74193548387098</cx:pt>
          <cx:pt idx="401">203.51612903225808</cx:pt>
          <cx:pt idx="402">203.70967741935485</cx:pt>
          <cx:pt idx="403">202.70967741935485</cx:pt>
          <cx:pt idx="404">203.32258064516128</cx:pt>
          <cx:pt idx="405">203.38709677419354</cx:pt>
          <cx:pt idx="406">203.29032258064515</cx:pt>
          <cx:pt idx="407">203.35483870967741</cx:pt>
          <cx:pt idx="408">203.41935483870967</cx:pt>
          <cx:pt idx="409">203.51612903225808</cx:pt>
          <cx:pt idx="410">203.61290322580646</cx:pt>
          <cx:pt idx="411">203.48387096774192</cx:pt>
          <cx:pt idx="412">203.96774193548387</cx:pt>
          <cx:pt idx="413">202.96774193548387</cx:pt>
          <cx:pt idx="414">204</cx:pt>
          <cx:pt idx="415">203.38709677419354</cx:pt>
          <cx:pt idx="416">202.74193548387098</cx:pt>
          <cx:pt idx="417">201.74193548387098</cx:pt>
          <cx:pt idx="418">201.51612903225808</cx:pt>
          <cx:pt idx="419">201.58064516129033</cx:pt>
          <cx:pt idx="420">201.41935483870967</cx:pt>
          <cx:pt idx="421">202.06451612903226</cx:pt>
          <cx:pt idx="422">201.09677419354838</cx:pt>
          <cx:pt idx="423">201</cx:pt>
          <cx:pt idx="424">201.06451612903226</cx:pt>
          <cx:pt idx="425">200.93548387096774</cx:pt>
          <cx:pt idx="426">201.03225806451613</cx:pt>
          <cx:pt idx="427">200.58064516129033</cx:pt>
          <cx:pt idx="428">199.90322580645162</cx:pt>
          <cx:pt idx="429">199.74193548387098</cx:pt>
          <cx:pt idx="430">200.80645161290323</cx:pt>
          <cx:pt idx="431">200.16129032258064</cx:pt>
          <cx:pt idx="432">200.87096774193549</cx:pt>
          <cx:pt idx="433">200.93548387096774</cx:pt>
          <cx:pt idx="434">201.58064516129033</cx:pt>
          <cx:pt idx="435">201.41935483870967</cx:pt>
          <cx:pt idx="436">200.16129032258064</cx:pt>
          <cx:pt idx="437">200.06451612903226</cx:pt>
          <cx:pt idx="438">199.61290322580646</cx:pt>
          <cx:pt idx="439">199.61290322580646</cx:pt>
          <cx:pt idx="440">199.83870967741936</cx:pt>
          <cx:pt idx="441">199.83870967741936</cx:pt>
          <cx:pt idx="442">199.32258064516128</cx:pt>
          <cx:pt idx="443">198.54838709677421</cx:pt>
          <cx:pt idx="444">198.87096774193549</cx:pt>
          <cx:pt idx="445">197.90322580645162</cx:pt>
          <cx:pt idx="446">198.41935483870967</cx:pt>
          <cx:pt idx="447">198.90322580645162</cx:pt>
          <cx:pt idx="448">199.90322580645162</cx:pt>
          <cx:pt idx="449">200</cx:pt>
          <cx:pt idx="450">200.12903225806451</cx:pt>
          <cx:pt idx="451">200.54838709677421</cx:pt>
          <cx:pt idx="452">200.35483870967741</cx:pt>
          <cx:pt idx="453">200.2258064516129</cx:pt>
          <cx:pt idx="454">201.38709677419354</cx:pt>
          <cx:pt idx="455">201.2258064516129</cx:pt>
          <cx:pt idx="456">202.09677419354838</cx:pt>
          <cx:pt idx="457">201.90322580645162</cx:pt>
          <cx:pt idx="458">201.25806451612902</cx:pt>
          <cx:pt idx="459">201.41935483870967</cx:pt>
          <cx:pt idx="460">202.03225806451613</cx:pt>
          <cx:pt idx="461">201.54838709677421</cx:pt>
          <cx:pt idx="462">201.51612903225808</cx:pt>
          <cx:pt idx="463">201.58064516129033</cx:pt>
          <cx:pt idx="464">201.61290322580646</cx:pt>
          <cx:pt idx="465">201.16129032258064</cx:pt>
          <cx:pt idx="466">201.16129032258064</cx:pt>
          <cx:pt idx="467">201.58064516129033</cx:pt>
          <cx:pt idx="468">200.87096774193549</cx:pt>
          <cx:pt idx="469">200.80645161290323</cx:pt>
          <cx:pt idx="470">200.74193548387098</cx:pt>
          <cx:pt idx="471">200.32258064516128</cx:pt>
          <cx:pt idx="472">201.09677419354838</cx:pt>
          <cx:pt idx="473">201.90322580645162</cx:pt>
          <cx:pt idx="474">201.93548387096774</cx:pt>
          <cx:pt idx="475">201.54838709677421</cx:pt>
          <cx:pt idx="476">201.32258064516128</cx:pt>
          <cx:pt idx="477">200.74193548387098</cx:pt>
          <cx:pt idx="478">200.41935483870967</cx:pt>
          <cx:pt idx="479">200.51612903225808</cx:pt>
          <cx:pt idx="480">200.03225806451613</cx:pt>
          <cx:pt idx="481">199.48387096774192</cx:pt>
          <cx:pt idx="482">199.80645161290323</cx:pt>
          <cx:pt idx="483">199.45161290322579</cx:pt>
          <cx:pt idx="484">199.35483870967741</cx:pt>
          <cx:pt idx="485">199.06451612903226</cx:pt>
          <cx:pt idx="486">200.03225806451613</cx:pt>
          <cx:pt idx="487">198.90322580645162</cx:pt>
          <cx:pt idx="488">199.48387096774192</cx:pt>
          <cx:pt idx="489">200.54838709677421</cx:pt>
          <cx:pt idx="490">200.51612903225808</cx:pt>
          <cx:pt idx="491">199.70967741935485</cx:pt>
          <cx:pt idx="492">200.32258064516128</cx:pt>
          <cx:pt idx="493">200.93548387096774</cx:pt>
          <cx:pt idx="494">201.03225806451613</cx:pt>
          <cx:pt idx="495">200.45161290322579</cx:pt>
          <cx:pt idx="496">200.90322580645162</cx:pt>
          <cx:pt idx="497">201.19354838709677</cx:pt>
          <cx:pt idx="498">201.58064516129033</cx:pt>
          <cx:pt idx="499">201.7741935483871</cx:pt>
          <cx:pt idx="500">202.06451612903226</cx:pt>
          <cx:pt idx="501">202.29032258064515</cx:pt>
          <cx:pt idx="502">202.09677419354838</cx:pt>
          <cx:pt idx="503">201.16129032258064</cx:pt>
          <cx:pt idx="504">201.03225806451613</cx:pt>
          <cx:pt idx="505">201.12903225806451</cx:pt>
          <cx:pt idx="506">201.38709677419354</cx:pt>
          <cx:pt idx="507">201.90322580645162</cx:pt>
          <cx:pt idx="508">201.54838709677421</cx:pt>
          <cx:pt idx="509">202.12903225806451</cx:pt>
          <cx:pt idx="510">202.2258064516129</cx:pt>
          <cx:pt idx="511">202.64516129032259</cx:pt>
          <cx:pt idx="512">202.51612903225808</cx:pt>
          <cx:pt idx="513">202.35483870967741</cx:pt>
          <cx:pt idx="514">202.87096774193549</cx:pt>
          <cx:pt idx="515">203.70967741935485</cx:pt>
          <cx:pt idx="516">202.74193548387098</cx:pt>
          <cx:pt idx="517">201.74193548387098</cx:pt>
          <cx:pt idx="518">202.19354838709677</cx:pt>
          <cx:pt idx="519">201.25806451612902</cx:pt>
          <cx:pt idx="520">200.41935483870967</cx:pt>
          <cx:pt idx="521">199.93548387096774</cx:pt>
          <cx:pt idx="522">200.25806451612902</cx:pt>
          <cx:pt idx="523">200.2258064516129</cx:pt>
          <cx:pt idx="524">200.61290322580646</cx:pt>
          <cx:pt idx="525">200.41935483870967</cx:pt>
          <cx:pt idx="526">200.83870967741936</cx:pt>
          <cx:pt idx="527">200.38709677419354</cx:pt>
          <cx:pt idx="528">200.45161290322579</cx:pt>
          <cx:pt idx="529">199.90322580645162</cx:pt>
          <cx:pt idx="530">200.29032258064515</cx:pt>
          <cx:pt idx="531">201.16129032258064</cx:pt>
          <cx:pt idx="532">200.48387096774192</cx:pt>
          <cx:pt idx="533">200.35483870967741</cx:pt>
          <cx:pt idx="534">200.93548387096774</cx:pt>
          <cx:pt idx="535">200.74193548387098</cx:pt>
          <cx:pt idx="536">200.96774193548387</cx:pt>
          <cx:pt idx="537">201.06451612903226</cx:pt>
          <cx:pt idx="538">201.35483870967741</cx:pt>
          <cx:pt idx="539">201.35483870967741</cx:pt>
          <cx:pt idx="540">200.41935483870967</cx:pt>
          <cx:pt idx="541">199.93548387096774</cx:pt>
          <cx:pt idx="542">200.38709677419354</cx:pt>
          <cx:pt idx="543">200.74193548387098</cx:pt>
          <cx:pt idx="544">199.64516129032259</cx:pt>
          <cx:pt idx="545">199.32258064516128</cx:pt>
          <cx:pt idx="546">199.09677419354838</cx:pt>
          <cx:pt idx="547">199.29032258064515</cx:pt>
          <cx:pt idx="548">200.06451612903226</cx:pt>
          <cx:pt idx="549">200.58064516129033</cx:pt>
          <cx:pt idx="550">201.06451612903226</cx:pt>
          <cx:pt idx="551">201.64516129032259</cx:pt>
          <cx:pt idx="552">202.45161290322579</cx:pt>
          <cx:pt idx="553">202.35483870967741</cx:pt>
          <cx:pt idx="554">202.06451612903226</cx:pt>
          <cx:pt idx="555">201.61290322580646</cx:pt>
          <cx:pt idx="556">200.83870967741936</cx:pt>
          <cx:pt idx="557">200.38709677419354</cx:pt>
          <cx:pt idx="558">200.06451612903226</cx:pt>
          <cx:pt idx="559">199.7741935483871</cx:pt>
          <cx:pt idx="560">200.58064516129033</cx:pt>
          <cx:pt idx="561">200.45161290322579</cx:pt>
          <cx:pt idx="562">199.38709677419354</cx:pt>
          <cx:pt idx="563">199</cx:pt>
          <cx:pt idx="564">199.35483870967741</cx:pt>
          <cx:pt idx="565">199.03225806451613</cx:pt>
          <cx:pt idx="566">198.67741935483872</cx:pt>
          <cx:pt idx="567">198.25806451612902</cx:pt>
          <cx:pt idx="568">197.83870967741936</cx:pt>
          <cx:pt idx="569">197.25806451612902</cx:pt>
          <cx:pt idx="570">197.74193548387098</cx:pt>
          <cx:pt idx="571">197.90322580645162</cx:pt>
          <cx:pt idx="572">197.93548387096774</cx:pt>
          <cx:pt idx="573">197.12903225806451</cx:pt>
          <cx:pt idx="574">197.41935483870967</cx:pt>
          <cx:pt idx="575">197.38709677419354</cx:pt>
          <cx:pt idx="576">197.51612903225808</cx:pt>
          <cx:pt idx="577">197.25806451612902</cx:pt>
          <cx:pt idx="578">198.2258064516129</cx:pt>
          <cx:pt idx="579">198.29032258064515</cx:pt>
          <cx:pt idx="580">198.38709677419354</cx:pt>
          <cx:pt idx="581">197.96774193548387</cx:pt>
          <cx:pt idx="582">197.19354838709677</cx:pt>
          <cx:pt idx="583">196.54838709677421</cx:pt>
          <cx:pt idx="584">196.83870967741936</cx:pt>
          <cx:pt idx="585">196.58064516129033</cx:pt>
          <cx:pt idx="586">195.96774193548387</cx:pt>
          <cx:pt idx="587">196.87096774193549</cx:pt>
          <cx:pt idx="588">197.32258064516128</cx:pt>
          <cx:pt idx="589">198.12903225806451</cx:pt>
          <cx:pt idx="590">198.90322580645162</cx:pt>
          <cx:pt idx="591">197.80645161290323</cx:pt>
          <cx:pt idx="592">197.90322580645162</cx:pt>
          <cx:pt idx="593">198.7741935483871</cx:pt>
          <cx:pt idx="594">198.7741935483871</cx:pt>
          <cx:pt idx="595">199.2258064516129</cx:pt>
          <cx:pt idx="596">199.54838709677421</cx:pt>
          <cx:pt idx="597">199.74193548387098</cx:pt>
          <cx:pt idx="598">199.38709677419354</cx:pt>
          <cx:pt idx="599">200.51612903225808</cx:pt>
          <cx:pt idx="600">200.38709677419354</cx:pt>
          <cx:pt idx="601">200.83870967741936</cx:pt>
          <cx:pt idx="602">202.03225806451613</cx:pt>
          <cx:pt idx="603">202.64516129032259</cx:pt>
          <cx:pt idx="604">203.87096774193549</cx:pt>
          <cx:pt idx="605">204.09677419354838</cx:pt>
          <cx:pt idx="606">205.90322580645162</cx:pt>
          <cx:pt idx="607">206.35483870967741</cx:pt>
          <cx:pt idx="608">207.80645161290323</cx:pt>
          <cx:pt idx="609">208.35483870967741</cx:pt>
          <cx:pt idx="610">208.90322580645162</cx:pt>
          <cx:pt idx="611">209.45161290322579</cx:pt>
          <cx:pt idx="612">210.96774193548387</cx:pt>
          <cx:pt idx="613">212.54838709677421</cx:pt>
          <cx:pt idx="614">213.90322580645162</cx:pt>
          <cx:pt idx="615">214.41935483870967</cx:pt>
          <cx:pt idx="616">215.38709677419354</cx:pt>
          <cx:pt idx="617">216.83870967741936</cx:pt>
          <cx:pt idx="618">217.35483870967741</cx:pt>
          <cx:pt idx="619">218.64516129032259</cx:pt>
          <cx:pt idx="620">219.06451612903226</cx:pt>
          <cx:pt idx="621">219.38709677419354</cx:pt>
          <cx:pt idx="622">220.93548387096774</cx:pt>
          <cx:pt idx="623">221.83870967741936</cx:pt>
          <cx:pt idx="624">222.54838709677421</cx:pt>
          <cx:pt idx="625">224.12903225806451</cx:pt>
          <cx:pt idx="626">224.80645161290323</cx:pt>
          <cx:pt idx="627">225.74193548387098</cx:pt>
          <cx:pt idx="628">226.45161290322579</cx:pt>
          <cx:pt idx="629">228.16129032258064</cx:pt>
          <cx:pt idx="630">228.61290322580646</cx:pt>
          <cx:pt idx="631">230</cx:pt>
          <cx:pt idx="632">230.25806451612902</cx:pt>
          <cx:pt idx="633">230.19354838709677</cx:pt>
          <cx:pt idx="634">230.48387096774192</cx:pt>
          <cx:pt idx="635">230.19354838709677</cx:pt>
          <cx:pt idx="636">230.35483870967741</cx:pt>
          <cx:pt idx="637">229.87096774193549</cx:pt>
          <cx:pt idx="638">229.87096774193549</cx:pt>
          <cx:pt idx="639">229.35483870967741</cx:pt>
          <cx:pt idx="640">229.03225806451613</cx:pt>
          <cx:pt idx="641">229.32258064516128</cx:pt>
          <cx:pt idx="642">229.51612903225808</cx:pt>
          <cx:pt idx="643">229.32258064516128</cx:pt>
          <cx:pt idx="644">229.16129032258064</cx:pt>
          <cx:pt idx="645">228.87096774193549</cx:pt>
          <cx:pt idx="646">228.16129032258064</cx:pt>
          <cx:pt idx="647">226.93548387096774</cx:pt>
          <cx:pt idx="648">226.03225806451613</cx:pt>
          <cx:pt idx="649">224.70967741935485</cx:pt>
          <cx:pt idx="650">223.06451612903226</cx:pt>
          <cx:pt idx="651">221.83870967741936</cx:pt>
          <cx:pt idx="652">220.90322580645162</cx:pt>
          <cx:pt idx="653">219.35483870967741</cx:pt>
          <cx:pt idx="654">218.03225806451613</cx:pt>
          <cx:pt idx="655">217.38709677419354</cx:pt>
          <cx:pt idx="656">215.90322580645162</cx:pt>
          <cx:pt idx="657">214.38709677419354</cx:pt>
          <cx:pt idx="658">213.48387096774192</cx:pt>
          <cx:pt idx="659">212.7741935483871</cx:pt>
          <cx:pt idx="660">212.29032258064515</cx:pt>
          <cx:pt idx="661">211.54838709677421</cx:pt>
          <cx:pt idx="662">210.58064516129033</cx:pt>
          <cx:pt idx="663">209.61290322580646</cx:pt>
          <cx:pt idx="664">208.67741935483872</cx:pt>
          <cx:pt idx="665">207.93548387096774</cx:pt>
          <cx:pt idx="666">207.48387096774192</cx:pt>
          <cx:pt idx="667">207.12903225806451</cx:pt>
          <cx:pt idx="668">206.09677419354838</cx:pt>
          <cx:pt idx="669">205.51612903225808</cx:pt>
          <cx:pt idx="670">205</cx:pt>
          <cx:pt idx="671">204.35483870967741</cx:pt>
          <cx:pt idx="672">202.90322580645162</cx:pt>
          <cx:pt idx="673">202.09677419354838</cx:pt>
          <cx:pt idx="674">200.80645161290323</cx:pt>
          <cx:pt idx="675">200.16129032258064</cx:pt>
          <cx:pt idx="676">199.70967741935485</cx:pt>
          <cx:pt idx="677">199.7741935483871</cx:pt>
          <cx:pt idx="678">200.19354838709677</cx:pt>
          <cx:pt idx="679">200.06451612903226</cx:pt>
          <cx:pt idx="680">200.74193548387098</cx:pt>
          <cx:pt idx="681">201.45161290322579</cx:pt>
          <cx:pt idx="682">201.58064516129033</cx:pt>
          <cx:pt idx="683">202.03225806451613</cx:pt>
          <cx:pt idx="684">202.48387096774192</cx:pt>
          <cx:pt idx="685">202.25806451612902</cx:pt>
          <cx:pt idx="686">201.80645161290323</cx:pt>
          <cx:pt idx="687">202.25806451612902</cx:pt>
          <cx:pt idx="688">202.80645161290323</cx:pt>
          <cx:pt idx="689">202.54838709677421</cx:pt>
          <cx:pt idx="690">202.12903225806451</cx:pt>
          <cx:pt idx="691">201.96774193548387</cx:pt>
          <cx:pt idx="692">201.83870967741936</cx:pt>
          <cx:pt idx="693">201.2258064516129</cx:pt>
          <cx:pt idx="694">201.51612903225808</cx:pt>
          <cx:pt idx="695">201.29032258064515</cx:pt>
          <cx:pt idx="696">201.19354838709677</cx:pt>
          <cx:pt idx="697">200.61290322580646</cx:pt>
          <cx:pt idx="698">200.16129032258064</cx:pt>
          <cx:pt idx="699">200.96774193548387</cx:pt>
          <cx:pt idx="700">200.32258064516128</cx:pt>
          <cx:pt idx="701">199.74193548387098</cx:pt>
          <cx:pt idx="702">199.93548387096774</cx:pt>
          <cx:pt idx="703">200.41935483870967</cx:pt>
          <cx:pt idx="704">199.64516129032259</cx:pt>
          <cx:pt idx="705">200.03225806451613</cx:pt>
          <cx:pt idx="706">200.19354838709677</cx:pt>
          <cx:pt idx="707">199.51612903225808</cx:pt>
          <cx:pt idx="708">199.90322580645162</cx:pt>
          <cx:pt idx="709">199.64516129032259</cx:pt>
          <cx:pt idx="710">199.96774193548387</cx:pt>
          <cx:pt idx="711">199.64516129032259</cx:pt>
          <cx:pt idx="712">199.19354838709677</cx:pt>
          <cx:pt idx="713">199.70967741935485</cx:pt>
          <cx:pt idx="714">199.87096774193549</cx:pt>
          <cx:pt idx="715">199.67741935483872</cx:pt>
          <cx:pt idx="716">200</cx:pt>
          <cx:pt idx="717">199.90322580645162</cx:pt>
          <cx:pt idx="718">199.2258064516129</cx:pt>
          <cx:pt idx="719">198.83870967741936</cx:pt>
          <cx:pt idx="720">198.16129032258064</cx:pt>
          <cx:pt idx="721">198.61290322580646</cx:pt>
          <cx:pt idx="722">198.38709677419354</cx:pt>
          <cx:pt idx="723">198.29032258064515</cx:pt>
          <cx:pt idx="724">199.51612903225808</cx:pt>
          <cx:pt idx="725">198.90322580645162</cx:pt>
          <cx:pt idx="726">198.48387096774192</cx:pt>
          <cx:pt idx="727">197.70967741935485</cx:pt>
          <cx:pt idx="728">198.61290322580646</cx:pt>
          <cx:pt idx="729">198.16129032258064</cx:pt>
          <cx:pt idx="730">198.19354838709677</cx:pt>
          <cx:pt idx="731">199.32258064516128</cx:pt>
          <cx:pt idx="732">200</cx:pt>
          <cx:pt idx="733">199.93548387096774</cx:pt>
          <cx:pt idx="734">200.16129032258064</cx:pt>
          <cx:pt idx="735">200.45161290322579</cx:pt>
          <cx:pt idx="736">200.61290322580646</cx:pt>
          <cx:pt idx="737">199.64516129032259</cx:pt>
          <cx:pt idx="738">200.54838709677421</cx:pt>
          <cx:pt idx="739">199.93548387096774</cx:pt>
          <cx:pt idx="740">199.70967741935485</cx:pt>
          <cx:pt idx="741">199.2258064516129</cx:pt>
          <cx:pt idx="742">198.74193548387098</cx:pt>
          <cx:pt idx="743">198.38709677419354</cx:pt>
          <cx:pt idx="744">197.74193548387098</cx:pt>
          <cx:pt idx="745">197.09677419354838</cx:pt>
          <cx:pt idx="746">197.87096774193549</cx:pt>
          <cx:pt idx="747">198.38709677419354</cx:pt>
          <cx:pt idx="748">198.19354838709677</cx:pt>
          <cx:pt idx="749">198.70967741935485</cx:pt>
          <cx:pt idx="750">199.51612903225808</cx:pt>
          <cx:pt idx="751">200.35483870967741</cx:pt>
          <cx:pt idx="752">200.90322580645162</cx:pt>
          <cx:pt idx="753">201.29032258064515</cx:pt>
          <cx:pt idx="754">201.32258064516128</cx:pt>
          <cx:pt idx="755">200.67741935483872</cx:pt>
          <cx:pt idx="756">201.41935483870967</cx:pt>
          <cx:pt idx="757">202</cx:pt>
          <cx:pt idx="758">203.09677419354838</cx:pt>
          <cx:pt idx="759">202.93548387096774</cx:pt>
          <cx:pt idx="760">203.74193548387098</cx:pt>
          <cx:pt idx="761">203.70967741935485</cx:pt>
          <cx:pt idx="762">203.80645161290323</cx:pt>
          <cx:pt idx="763">203.03225806451613</cx:pt>
          <cx:pt idx="764">202.64516129032259</cx:pt>
          <cx:pt idx="765">202.38709677419354</cx:pt>
          <cx:pt idx="766">201.74193548387098</cx:pt>
          <cx:pt idx="767">201.87096774193549</cx:pt>
          <cx:pt idx="768">202.06451612903226</cx:pt>
          <cx:pt idx="769">201.67741935483872</cx:pt>
          <cx:pt idx="770">201.58064516129033</cx:pt>
          <cx:pt idx="771">201.61290322580646</cx:pt>
          <cx:pt idx="772">202.48387096774192</cx:pt>
          <cx:pt idx="773">202.61290322580646</cx:pt>
          <cx:pt idx="774">203.29032258064515</cx:pt>
          <cx:pt idx="775">203.35483870967741</cx:pt>
          <cx:pt idx="776">202.87096774193549</cx:pt>
          <cx:pt idx="777">203.12903225806451</cx:pt>
          <cx:pt idx="778">202.93548387096774</cx:pt>
          <cx:pt idx="779">203.7741935483871</cx:pt>
          <cx:pt idx="780">203.83870967741936</cx:pt>
          <cx:pt idx="781">204</cx:pt>
          <cx:pt idx="782">203.2258064516129</cx:pt>
          <cx:pt idx="783">202.74193548387098</cx:pt>
          <cx:pt idx="784">202.74193548387098</cx:pt>
          <cx:pt idx="785">203.03225806451613</cx:pt>
          <cx:pt idx="786">203.12903225806451</cx:pt>
          <cx:pt idx="787">203.41935483870967</cx:pt>
          <cx:pt idx="788">203.09677419354838</cx:pt>
          <cx:pt idx="789">203.12903225806451</cx:pt>
          <cx:pt idx="790">202.7741935483871</cx:pt>
          <cx:pt idx="791">202.48387096774192</cx:pt>
          <cx:pt idx="792">202.2258064516129</cx:pt>
          <cx:pt idx="793">201.35483870967741</cx:pt>
          <cx:pt idx="794">201.87096774193549</cx:pt>
          <cx:pt idx="795">202.2258064516129</cx:pt>
          <cx:pt idx="796">202.06451612903226</cx:pt>
          <cx:pt idx="797">202.48387096774192</cx:pt>
          <cx:pt idx="798">202.38709677419354</cx:pt>
          <cx:pt idx="799">202.64516129032259</cx:pt>
          <cx:pt idx="800">202.74193548387098</cx:pt>
          <cx:pt idx="801">202.93548387096774</cx:pt>
          <cx:pt idx="802">203.54838709677421</cx:pt>
          <cx:pt idx="803">203.19354838709677</cx:pt>
          <cx:pt idx="804">202.80645161290323</cx:pt>
          <cx:pt idx="805">202.80645161290323</cx:pt>
          <cx:pt idx="806">203.09677419354838</cx:pt>
          <cx:pt idx="807">204.2258064516129</cx:pt>
          <cx:pt idx="808">204.19354838709677</cx:pt>
          <cx:pt idx="809">204.29032258064515</cx:pt>
          <cx:pt idx="810">203.93548387096774</cx:pt>
          <cx:pt idx="811">204.35483870967741</cx:pt>
          <cx:pt idx="812">203.58064516129033</cx:pt>
          <cx:pt idx="813">204.67741935483872</cx:pt>
          <cx:pt idx="814">204.09677419354838</cx:pt>
          <cx:pt idx="815">203.29032258064515</cx:pt>
          <cx:pt idx="816">202.83870967741936</cx:pt>
          <cx:pt idx="817">203.09677419354838</cx:pt>
          <cx:pt idx="818">203</cx:pt>
          <cx:pt idx="819">203.51612903225808</cx:pt>
          <cx:pt idx="820">202.38709677419354</cx:pt>
          <cx:pt idx="821">203</cx:pt>
          <cx:pt idx="822">202.29032258064515</cx:pt>
          <cx:pt idx="823">202.67741935483872</cx:pt>
          <cx:pt idx="824">203.03225806451613</cx:pt>
          <cx:pt idx="825">202.51612903225808</cx:pt>
          <cx:pt idx="826">202.38709677419354</cx:pt>
          <cx:pt idx="827">202.93548387096774</cx:pt>
          <cx:pt idx="828">203.03225806451613</cx:pt>
          <cx:pt idx="829">203.25806451612902</cx:pt>
          <cx:pt idx="830">203.90322580645162</cx:pt>
          <cx:pt idx="831">203.58064516129033</cx:pt>
          <cx:pt idx="832">203.06451612903226</cx:pt>
          <cx:pt idx="833">203.2258064516129</cx:pt>
          <cx:pt idx="834">203.48387096774192</cx:pt>
          <cx:pt idx="835">203.64516129032259</cx:pt>
          <cx:pt idx="836">203.38709677419354</cx:pt>
          <cx:pt idx="837">203.58064516129033</cx:pt>
          <cx:pt idx="838">203.12903225806451</cx:pt>
          <cx:pt idx="839">202.32258064516128</cx:pt>
          <cx:pt idx="840">202.35483870967741</cx:pt>
          <cx:pt idx="841">202.64516129032259</cx:pt>
          <cx:pt idx="842">201.7741935483871</cx:pt>
          <cx:pt idx="843">201.54838709677421</cx:pt>
          <cx:pt idx="844">201.19354838709677</cx:pt>
          <cx:pt idx="845">202.12903225806451</cx:pt>
          <cx:pt idx="846">203</cx:pt>
          <cx:pt idx="847">203.48387096774192</cx:pt>
          <cx:pt idx="848">203.48387096774192</cx:pt>
          <cx:pt idx="849">202.51612903225808</cx:pt>
          <cx:pt idx="850">202.64516129032259</cx:pt>
          <cx:pt idx="851">202.90322580645162</cx:pt>
          <cx:pt idx="852">202.12903225806451</cx:pt>
          <cx:pt idx="853">203.2258064516129</cx:pt>
          <cx:pt idx="854">202.83870967741936</cx:pt>
          <cx:pt idx="855">202.09677419354838</cx:pt>
          <cx:pt idx="856">202.41935483870967</cx:pt>
          <cx:pt idx="857">201.83870967741936</cx:pt>
          <cx:pt idx="858">200.90322580645162</cx:pt>
          <cx:pt idx="859">200.90322580645162</cx:pt>
          <cx:pt idx="860">200</cx:pt>
          <cx:pt idx="861">199.29032258064515</cx:pt>
          <cx:pt idx="862">199</cx:pt>
          <cx:pt idx="863">200.12903225806451</cx:pt>
          <cx:pt idx="864">200.12903225806451</cx:pt>
          <cx:pt idx="865">199.7741935483871</cx:pt>
          <cx:pt idx="866">200.87096774193549</cx:pt>
          <cx:pt idx="867">200.61290322580646</cx:pt>
          <cx:pt idx="868">200.74193548387098</cx:pt>
          <cx:pt idx="869">200.48387096774192</cx:pt>
          <cx:pt idx="870">201.2258064516129</cx:pt>
          <cx:pt idx="871">200.38709677419354</cx:pt>
          <cx:pt idx="872">200.48387096774192</cx:pt>
          <cx:pt idx="873">201.29032258064515</cx:pt>
          <cx:pt idx="874">201.58064516129033</cx:pt>
          <cx:pt idx="875">201.25806451612902</cx:pt>
          <cx:pt idx="876">201.12903225806451</cx:pt>
          <cx:pt idx="877">200.64516129032259</cx:pt>
          <cx:pt idx="878">200.06451612903226</cx:pt>
          <cx:pt idx="879">200.38709677419354</cx:pt>
          <cx:pt idx="880">200.7741935483871</cx:pt>
          <cx:pt idx="881">200.32258064516128</cx:pt>
          <cx:pt idx="882">201.03225806451613</cx:pt>
          <cx:pt idx="883">201.32258064516128</cx:pt>
          <cx:pt idx="884">200.7741935483871</cx:pt>
          <cx:pt idx="885">200.12903225806451</cx:pt>
          <cx:pt idx="886">200.70967741935485</cx:pt>
          <cx:pt idx="887">200.93548387096774</cx:pt>
          <cx:pt idx="888">200.96774193548387</cx:pt>
          <cx:pt idx="889">201.64516129032259</cx:pt>
          <cx:pt idx="890">202.38709677419354</cx:pt>
          <cx:pt idx="891">203.06451612903226</cx:pt>
          <cx:pt idx="892">203.67741935483872</cx:pt>
          <cx:pt idx="893">204.58064516129033</cx:pt>
          <cx:pt idx="894">204.29032258064515</cx:pt>
          <cx:pt idx="895">204.25806451612902</cx:pt>
          <cx:pt idx="896">204.51612903225808</cx:pt>
          <cx:pt idx="897">204.35483870967741</cx:pt>
          <cx:pt idx="898">204.74193548387098</cx:pt>
          <cx:pt idx="899">204.51612903225808</cx:pt>
          <cx:pt idx="900">204.29032258064515</cx:pt>
          <cx:pt idx="901">204.32258064516128</cx:pt>
          <cx:pt idx="902">204.51612903225808</cx:pt>
          <cx:pt idx="903">203.48387096774192</cx:pt>
          <cx:pt idx="904">203.70967741935485</cx:pt>
          <cx:pt idx="905">204.45161290322579</cx:pt>
          <cx:pt idx="906">204.96774193548387</cx:pt>
          <cx:pt idx="907">204.29032258064515</cx:pt>
          <cx:pt idx="908">204.35483870967741</cx:pt>
          <cx:pt idx="909">204</cx:pt>
          <cx:pt idx="910">203.51612903225808</cx:pt>
          <cx:pt idx="911">203.35483870967741</cx:pt>
          <cx:pt idx="912">203.7741935483871</cx:pt>
          <cx:pt idx="913">203.64516129032259</cx:pt>
          <cx:pt idx="914">203.58064516129033</cx:pt>
          <cx:pt idx="915">203.54838709677421</cx:pt>
          <cx:pt idx="916">203.83870967741936</cx:pt>
          <cx:pt idx="917">203.2258064516129</cx:pt>
          <cx:pt idx="918">203.29032258064515</cx:pt>
          <cx:pt idx="919">203.41935483870967</cx:pt>
          <cx:pt idx="920">203.54838709677421</cx:pt>
          <cx:pt idx="921">202.7741935483871</cx:pt>
          <cx:pt idx="922">202.64516129032259</cx:pt>
          <cx:pt idx="923">202.35483870967741</cx:pt>
          <cx:pt idx="924">201.35483870967741</cx:pt>
          <cx:pt idx="925">201.38709677419354</cx:pt>
          <cx:pt idx="926">200.87096774193549</cx:pt>
          <cx:pt idx="927">200.48387096774192</cx:pt>
          <cx:pt idx="928">200.45161290322579</cx:pt>
          <cx:pt idx="929">200.87096774193549</cx:pt>
          <cx:pt idx="930">201.12903225806451</cx:pt>
          <cx:pt idx="931">202</cx:pt>
          <cx:pt idx="932">201.83870967741936</cx:pt>
          <cx:pt idx="933">202.67741935483872</cx:pt>
          <cx:pt idx="934">203.67741935483872</cx:pt>
          <cx:pt idx="935">203.29032258064515</cx:pt>
          <cx:pt idx="936">203.12903225806451</cx:pt>
          <cx:pt idx="937">203</cx:pt>
          <cx:pt idx="938">203.45161290322579</cx:pt>
          <cx:pt idx="939">203.35483870967741</cx:pt>
          <cx:pt idx="940">203.70967741935485</cx:pt>
          <cx:pt idx="941">203.41935483870967</cx:pt>
          <cx:pt idx="942">203.19354838709677</cx:pt>
          <cx:pt idx="943">202.38709677419354</cx:pt>
          <cx:pt idx="944">202.58064516129033</cx:pt>
          <cx:pt idx="945">202.38709677419354</cx:pt>
          <cx:pt idx="946">202.83870967741936</cx:pt>
          <cx:pt idx="947">202.35483870967741</cx:pt>
          <cx:pt idx="948">203.2258064516129</cx:pt>
          <cx:pt idx="949">203.51612903225808</cx:pt>
          <cx:pt idx="950">204.32258064516128</cx:pt>
          <cx:pt idx="951">203.80645161290323</cx:pt>
          <cx:pt idx="952">203.7741935483871</cx:pt>
          <cx:pt idx="953">204.29032258064515</cx:pt>
          <cx:pt idx="954">203.54838709677421</cx:pt>
          <cx:pt idx="955">204.2258064516129</cx:pt>
          <cx:pt idx="956">203.29032258064515</cx:pt>
          <cx:pt idx="957">203.12903225806451</cx:pt>
          <cx:pt idx="958">203.2258064516129</cx:pt>
          <cx:pt idx="959">202.48387096774192</cx:pt>
          <cx:pt idx="960">201.64516129032259</cx:pt>
          <cx:pt idx="961">201.03225806451613</cx:pt>
          <cx:pt idx="962">200.61290322580646</cx:pt>
          <cx:pt idx="963">199.90322580645162</cx:pt>
          <cx:pt idx="964">198.90322580645162</cx:pt>
          <cx:pt idx="965">198.19354838709677</cx:pt>
          <cx:pt idx="966">198.2258064516129</cx:pt>
          <cx:pt idx="967">198.38709677419354</cx:pt>
          <cx:pt idx="968">198.16129032258064</cx:pt>
          <cx:pt idx="969">197.48387096774192</cx:pt>
          <cx:pt idx="970">197.90322580645162</cx:pt>
          <cx:pt idx="971">197.61290322580646</cx:pt>
          <cx:pt idx="972">197.83870967741936</cx:pt>
          <cx:pt idx="973">198.54838709677421</cx:pt>
          <cx:pt idx="974">198.67741935483872</cx:pt>
          <cx:pt idx="975">197.61290322580646</cx:pt>
          <cx:pt idx="976">197.87096774193549</cx:pt>
          <cx:pt idx="977">197.41935483870967</cx:pt>
          <cx:pt idx="978">197.58064516129033</cx:pt>
          <cx:pt idx="979">196.90322580645162</cx:pt>
          <cx:pt idx="980">196.64516129032259</cx:pt>
          <cx:pt idx="981">196.09677419354838</cx:pt>
          <cx:pt idx="982">196.32258064516128</cx:pt>
          <cx:pt idx="983">196.61290322580646</cx:pt>
          <cx:pt idx="984">195.58064516129033</cx:pt>
          <cx:pt idx="985">195.61290322580646</cx:pt>
          <cx:pt idx="986">194.87096774193549</cx:pt>
          <cx:pt idx="987">196</cx:pt>
          <cx:pt idx="988">196.19354838709677</cx:pt>
          <cx:pt idx="989">196.2258064516129</cx:pt>
          <cx:pt idx="990">196.70967741935485</cx:pt>
          <cx:pt idx="991">196.90322580645162</cx:pt>
          <cx:pt idx="992">196.83870967741936</cx:pt>
          <cx:pt idx="993">196.90322580645162</cx:pt>
          <cx:pt idx="994">197.67741935483872</cx:pt>
          <cx:pt idx="995">198.29032258064515</cx:pt>
          <cx:pt idx="996">198.25806451612902</cx:pt>
          <cx:pt idx="997">198.03225806451613</cx:pt>
          <cx:pt idx="998">197.41935483870967</cx:pt>
          <cx:pt idx="999">196.96774193548387</cx:pt>
          <cx:pt idx="1000">197.67741935483872</cx:pt>
          <cx:pt idx="1001">197.61290322580646</cx:pt>
          <cx:pt idx="1002">197.58064516129033</cx:pt>
          <cx:pt idx="1003">196.93548387096774</cx:pt>
          <cx:pt idx="1004">197.25806451612902</cx:pt>
          <cx:pt idx="1005">197.83870967741936</cx:pt>
          <cx:pt idx="1006">198.45161290322579</cx:pt>
          <cx:pt idx="1007">197.96774193548387</cx:pt>
          <cx:pt idx="1008">198.09677419354838</cx:pt>
          <cx:pt idx="1009">198.32258064516128</cx:pt>
          <cx:pt idx="1010">198.74193548387098</cx:pt>
          <cx:pt idx="1011">198.09677419354838</cx:pt>
          <cx:pt idx="1012">197.80645161290323</cx:pt>
          <cx:pt idx="1013">197.58064516129033</cx:pt>
          <cx:pt idx="1014">197.7741935483871</cx:pt>
          <cx:pt idx="1015">198.16129032258064</cx:pt>
          <cx:pt idx="1016">198.19354838709677</cx:pt>
          <cx:pt idx="1017">199.38709677419354</cx:pt>
          <cx:pt idx="1018">198.90322580645162</cx:pt>
          <cx:pt idx="1019">199.32258064516128</cx:pt>
          <cx:pt idx="1020">199.80645161290323</cx:pt>
          <cx:pt idx="1021">200.19354838709677</cx:pt>
          <cx:pt idx="1022">199.87096774193549</cx:pt>
          <cx:pt idx="1023">200.35483870967741</cx:pt>
          <cx:pt idx="1024">199.93548387096774</cx:pt>
          <cx:pt idx="1025">199</cx:pt>
          <cx:pt idx="1026">199.48387096774192</cx:pt>
          <cx:pt idx="1027">199.41935483870967</cx:pt>
          <cx:pt idx="1028">199.67741935483872</cx:pt>
          <cx:pt idx="1029">200.03225806451613</cx:pt>
          <cx:pt idx="1030">200</cx:pt>
          <cx:pt idx="1031">199.45161290322579</cx:pt>
          <cx:pt idx="1032">198.45161290322579</cx:pt>
          <cx:pt idx="1033">198.83870967741936</cx:pt>
          <cx:pt idx="1034">199.32258064516128</cx:pt>
          <cx:pt idx="1035">198.2258064516129</cx:pt>
          <cx:pt idx="1036">198.35483870967741</cx:pt>
          <cx:pt idx="1037">198.16129032258064</cx:pt>
          <cx:pt idx="1038">198.09677419354838</cx:pt>
          <cx:pt idx="1039">198.64516129032259</cx:pt>
          <cx:pt idx="1040">199.61290322580646</cx:pt>
          <cx:pt idx="1041">200.83870967741936</cx:pt>
          <cx:pt idx="1042">202.38709677419354</cx:pt>
          <cx:pt idx="1043">204</cx:pt>
          <cx:pt idx="1044">205.03225806451613</cx:pt>
          <cx:pt idx="1045">205.93548387096774</cx:pt>
          <cx:pt idx="1046">207.09677419354838</cx:pt>
          <cx:pt idx="1047">208.90322580645162</cx:pt>
          <cx:pt idx="1048">209.29032258064515</cx:pt>
          <cx:pt idx="1049">209.96774193548387</cx:pt>
          <cx:pt idx="1050">210.41935483870967</cx:pt>
          <cx:pt idx="1051">211.06451612903226</cx:pt>
          <cx:pt idx="1052">211.32258064516128</cx:pt>
          <cx:pt idx="1053">212.58064516129033</cx:pt>
          <cx:pt idx="1054">213.58064516129033</cx:pt>
          <cx:pt idx="1055">214.7741935483871</cx:pt>
          <cx:pt idx="1056">216.12903225806451</cx:pt>
          <cx:pt idx="1057">216.48387096774192</cx:pt>
          <cx:pt idx="1058">217.96774193548387</cx:pt>
          <cx:pt idx="1059">218.58064516129033</cx:pt>
          <cx:pt idx="1060">219.2258064516129</cx:pt>
          <cx:pt idx="1061">220.7741935483871</cx:pt>
          <cx:pt idx="1062">222.06451612903226</cx:pt>
          <cx:pt idx="1063">223.51612903225808</cx:pt>
          <cx:pt idx="1064">224.51612903225808</cx:pt>
          <cx:pt idx="1065">225.48387096774192</cx:pt>
          <cx:pt idx="1066">227.25806451612902</cx:pt>
          <cx:pt idx="1067">228.19354838709677</cx:pt>
          <cx:pt idx="1068">229.32258064516128</cx:pt>
          <cx:pt idx="1069">230.54838709677421</cx:pt>
          <cx:pt idx="1070">231.16129032258064</cx:pt>
          <cx:pt idx="1071">231.29032258064515</cx:pt>
          <cx:pt idx="1072">230.74193548387098</cx:pt>
          <cx:pt idx="1073">230.67741935483872</cx:pt>
          <cx:pt idx="1074">230.67741935483872</cx:pt>
          <cx:pt idx="1075">230.70967741935485</cx:pt>
          <cx:pt idx="1076">230.67741935483872</cx:pt>
          <cx:pt idx="1077">230.74193548387098</cx:pt>
          <cx:pt idx="1078">230.51612903225808</cx:pt>
          <cx:pt idx="1079">230.58064516129033</cx:pt>
          <cx:pt idx="1080">230.96774193548387</cx:pt>
          <cx:pt idx="1081">231.2258064516129</cx:pt>
          <cx:pt idx="1082">231.35483870967741</cx:pt>
          <cx:pt idx="1083">231.67741935483872</cx:pt>
          <cx:pt idx="1084">230.41935483870967</cx:pt>
          <cx:pt idx="1085">228.93548387096774</cx:pt>
          <cx:pt idx="1086">227.29032258064515</cx:pt>
          <cx:pt idx="1087">225.74193548387098</cx:pt>
          <cx:pt idx="1088">224.67741935483872</cx:pt>
          <cx:pt idx="1089">223.67741935483872</cx:pt>
          <cx:pt idx="1090">222.12903225806451</cx:pt>
          <cx:pt idx="1091">220.64516129032259</cx:pt>
          <cx:pt idx="1092">219.87096774193549</cx:pt>
          <cx:pt idx="1093">218.64516129032259</cx:pt>
          <cx:pt idx="1094">217.06451612903226</cx:pt>
          <cx:pt idx="1095">215.48387096774192</cx:pt>
          <cx:pt idx="1096">214.2258064516129</cx:pt>
          <cx:pt idx="1097">212.7741935483871</cx:pt>
          <cx:pt idx="1098">211.2258064516129</cx:pt>
          <cx:pt idx="1099">209.80645161290323</cx:pt>
          <cx:pt idx="1100">208.90322580645162</cx:pt>
          <cx:pt idx="1101">207.03225806451613</cx:pt>
          <cx:pt idx="1102">206.74193548387098</cx:pt>
          <cx:pt idx="1103">206.16129032258064</cx:pt>
          <cx:pt idx="1104">204.93548387096774</cx:pt>
          <cx:pt idx="1105">203.90322580645162</cx:pt>
          <cx:pt idx="1106">202.93548387096774</cx:pt>
          <cx:pt idx="1107">201.48387096774192</cx:pt>
          <cx:pt idx="1108">200.09677419354838</cx:pt>
          <cx:pt idx="1109">199.41935483870967</cx:pt>
          <cx:pt idx="1110">198.2258064516129</cx:pt>
          <cx:pt idx="1111">197.19354838709677</cx:pt>
          <cx:pt idx="1112">196.19354838709677</cx:pt>
          <cx:pt idx="1113">195.48387096774192</cx:pt>
          <cx:pt idx="1114">194.41935483870967</cx:pt>
          <cx:pt idx="1115">194.64516129032259</cx:pt>
          <cx:pt idx="1116">194.80645161290323</cx:pt>
          <cx:pt idx="1117">195.87096774193549</cx:pt>
          <cx:pt idx="1118">195.93548387096774</cx:pt>
          <cx:pt idx="1119">196.32258064516128</cx:pt>
          <cx:pt idx="1120">196.54838709677421</cx:pt>
          <cx:pt idx="1121">196.70967741935485</cx:pt>
          <cx:pt idx="1122">197.83870967741936</cx:pt>
          <cx:pt idx="1123">197.2258064516129</cx:pt>
          <cx:pt idx="1124">197.41935483870967</cx:pt>
          <cx:pt idx="1125">198.19354838709677</cx:pt>
          <cx:pt idx="1126">198.29032258064515</cx:pt>
          <cx:pt idx="1127">198.93548387096774</cx:pt>
          <cx:pt idx="1128">199.7741935483871</cx:pt>
          <cx:pt idx="1129">199.7741935483871</cx:pt>
          <cx:pt idx="1130">200.16129032258064</cx:pt>
          <cx:pt idx="1131">199.74193548387098</cx:pt>
          <cx:pt idx="1132">199.80645161290323</cx:pt>
          <cx:pt idx="1133">199.2258064516129</cx:pt>
          <cx:pt idx="1134">199</cx:pt>
          <cx:pt idx="1135">198.74193548387098</cx:pt>
          <cx:pt idx="1136">198.35483870967741</cx:pt>
          <cx:pt idx="1137">197.96774193548387</cx:pt>
          <cx:pt idx="1138">198.12903225806451</cx:pt>
          <cx:pt idx="1139">197.70967741935485</cx:pt>
          <cx:pt idx="1140">197.74193548387098</cx:pt>
          <cx:pt idx="1141">197.58064516129033</cx:pt>
          <cx:pt idx="1142">197.09677419354838</cx:pt>
          <cx:pt idx="1143">196.96774193548387</cx:pt>
          <cx:pt idx="1144">195.83870967741936</cx:pt>
          <cx:pt idx="1145">196.29032258064515</cx:pt>
          <cx:pt idx="1146">196.61290322580646</cx:pt>
          <cx:pt idx="1147">196.87096774193549</cx:pt>
          <cx:pt idx="1148">196.32258064516128</cx:pt>
          <cx:pt idx="1149">196.29032258064515</cx:pt>
          <cx:pt idx="1150">196.70967741935485</cx:pt>
          <cx:pt idx="1151">195.7741935483871</cx:pt>
          <cx:pt idx="1152">195.93548387096774</cx:pt>
          <cx:pt idx="1153">194.93548387096774</cx:pt>
          <cx:pt idx="1154">195.25806451612902</cx:pt>
          <cx:pt idx="1155">195.16129032258064</cx:pt>
          <cx:pt idx="1156">195.32258064516128</cx:pt>
          <cx:pt idx="1157">196.35483870967741</cx:pt>
          <cx:pt idx="1158">196</cx:pt>
          <cx:pt idx="1159">194.83870967741936</cx:pt>
          <cx:pt idx="1160">194.58064516129033</cx:pt>
          <cx:pt idx="1161">194.70967741935485</cx:pt>
          <cx:pt idx="1162">195.58064516129033</cx:pt>
          <cx:pt idx="1163">196.74193548387098</cx:pt>
          <cx:pt idx="1164">196.38709677419354</cx:pt>
          <cx:pt idx="1165">195.93548387096774</cx:pt>
          <cx:pt idx="1166">196.70967741935485</cx:pt>
          <cx:pt idx="1167">196.54838709677421</cx:pt>
          <cx:pt idx="1168">197.19354838709677</cx:pt>
          <cx:pt idx="1169">197.80645161290323</cx:pt>
          <cx:pt idx="1170">198.96774193548387</cx:pt>
          <cx:pt idx="1171">198.29032258064515</cx:pt>
          <cx:pt idx="1172">198.25806451612902</cx:pt>
          <cx:pt idx="1173">198.2258064516129</cx:pt>
          <cx:pt idx="1174">198.45161290322579</cx:pt>
          <cx:pt idx="1175">198.45161290322579</cx:pt>
          <cx:pt idx="1176">197.93548387096774</cx:pt>
          <cx:pt idx="1177">197.90322580645162</cx:pt>
          <cx:pt idx="1178">198.38709677419354</cx:pt>
          <cx:pt idx="1179">197.96774193548387</cx:pt>
          <cx:pt idx="1180">198.06451612903226</cx:pt>
          <cx:pt idx="1181">196.80645161290323</cx:pt>
          <cx:pt idx="1182">197.48387096774192</cx:pt>
          <cx:pt idx="1183">197.74193548387098</cx:pt>
          <cx:pt idx="1184">198.29032258064515</cx:pt>
          <cx:pt idx="1185">197.87096774193549</cx:pt>
          <cx:pt idx="1186">197.80645161290323</cx:pt>
          <cx:pt idx="1187">197.29032258064515</cx:pt>
          <cx:pt idx="1188">197.03225806451613</cx:pt>
          <cx:pt idx="1189">197.12903225806451</cx:pt>
          <cx:pt idx="1190">198.25806451612902</cx:pt>
          <cx:pt idx="1191">198.74193548387098</cx:pt>
          <cx:pt idx="1192">199.25806451612902</cx:pt>
          <cx:pt idx="1193">199.51612903225808</cx:pt>
          <cx:pt idx="1194">199.29032258064515</cx:pt>
          <cx:pt idx="1195">200.32258064516128</cx:pt>
          <cx:pt idx="1196">201.29032258064515</cx:pt>
          <cx:pt idx="1197">201.12903225806451</cx:pt>
          <cx:pt idx="1198">201.35483870967741</cx:pt>
          <cx:pt idx="1199">200.51612903225808</cx:pt>
          <cx:pt idx="1200">199.87096774193549</cx:pt>
          <cx:pt idx="1201">199.25806451612902</cx:pt>
          <cx:pt idx="1202">199.32258064516128</cx:pt>
          <cx:pt idx="1203">199.2258064516129</cx:pt>
          <cx:pt idx="1204">199.74193548387098</cx:pt>
          <cx:pt idx="1205">199.41935483870967</cx:pt>
          <cx:pt idx="1206">199.32258064516128</cx:pt>
          <cx:pt idx="1207">199.83870967741936</cx:pt>
          <cx:pt idx="1208">200.38709677419354</cx:pt>
          <cx:pt idx="1209">200</cx:pt>
          <cx:pt idx="1210">201.16129032258064</cx:pt>
          <cx:pt idx="1211">201.03225806451613</cx:pt>
          <cx:pt idx="1212">201.03225806451613</cx:pt>
          <cx:pt idx="1213">201.06451612903226</cx:pt>
          <cx:pt idx="1214">200.61290322580646</cx:pt>
          <cx:pt idx="1215">201.06451612903226</cx:pt>
          <cx:pt idx="1216">201.87096774193549</cx:pt>
          <cx:pt idx="1217">202.80645161290323</cx:pt>
          <cx:pt idx="1218">202.61290322580646</cx:pt>
          <cx:pt idx="1219">202.45161290322579</cx:pt>
          <cx:pt idx="1220">202.70967741935485</cx:pt>
          <cx:pt idx="1221">202.58064516129033</cx:pt>
          <cx:pt idx="1222">202.7741935483871</cx:pt>
          <cx:pt idx="1223">201.87096774193549</cx:pt>
          <cx:pt idx="1224">201.2258064516129</cx:pt>
          <cx:pt idx="1225">201.35483870967741</cx:pt>
          <cx:pt idx="1226">201.19354838709677</cx:pt>
          <cx:pt idx="1227">200.2258064516129</cx:pt>
          <cx:pt idx="1228">200.09677419354838</cx:pt>
          <cx:pt idx="1229">200.67741935483872</cx:pt>
          <cx:pt idx="1230">200.70967741935485</cx:pt>
          <cx:pt idx="1231">200.54838709677421</cx:pt>
          <cx:pt idx="1232">201.38709677419354</cx:pt>
          <cx:pt idx="1233">202.29032258064515</cx:pt>
          <cx:pt idx="1234">203.58064516129033</cx:pt>
          <cx:pt idx="1235">204.64516129032259</cx:pt>
          <cx:pt idx="1236">206</cx:pt>
          <cx:pt idx="1237">207.7741935483871</cx:pt>
          <cx:pt idx="1238">208.12903225806451</cx:pt>
          <cx:pt idx="1239">208.19354838709677</cx:pt>
          <cx:pt idx="1240">209.06451612903226</cx:pt>
          <cx:pt idx="1241">209.48387096774192</cx:pt>
          <cx:pt idx="1242">210.96774193548387</cx:pt>
          <cx:pt idx="1243">212.41935483870967</cx:pt>
          <cx:pt idx="1244">213.41935483870967</cx:pt>
          <cx:pt idx="1245">214.93548387096774</cx:pt>
          <cx:pt idx="1246">215.29032258064515</cx:pt>
          <cx:pt idx="1247">215.96774193548387</cx:pt>
          <cx:pt idx="1248">216.19354838709677</cx:pt>
          <cx:pt idx="1249">217.74193548387098</cx:pt>
          <cx:pt idx="1250">218.74193548387098</cx:pt>
          <cx:pt idx="1251">219.12903225806451</cx:pt>
          <cx:pt idx="1252">219.48387096774192</cx:pt>
          <cx:pt idx="1253">220.54838709677421</cx:pt>
          <cx:pt idx="1254">221.51612903225808</cx:pt>
          <cx:pt idx="1255">222.58064516129033</cx:pt>
          <cx:pt idx="1256">222.70967741935485</cx:pt>
          <cx:pt idx="1257">223.32258064516128</cx:pt>
          <cx:pt idx="1258">225.09677419354838</cx:pt>
          <cx:pt idx="1259">226.35483870967741</cx:pt>
          <cx:pt idx="1260">227</cx:pt>
          <cx:pt idx="1261">228.54838709677421</cx:pt>
          <cx:pt idx="1262">229.51612903225808</cx:pt>
          <cx:pt idx="1263">229.61290322580646</cx:pt>
          <cx:pt idx="1264">230.16129032258064</cx:pt>
          <cx:pt idx="1265">230.41935483870967</cx:pt>
          <cx:pt idx="1266">230.19354838709677</cx:pt>
          <cx:pt idx="1267">229.90322580645162</cx:pt>
          <cx:pt idx="1268">229.87096774193549</cx:pt>
          <cx:pt idx="1269">230.09677419354838</cx:pt>
          <cx:pt idx="1270">230.12903225806451</cx:pt>
          <cx:pt idx="1271">230.41935483870967</cx:pt>
          <cx:pt idx="1272">230.67741935483872</cx:pt>
          <cx:pt idx="1273">230.83870967741936</cx:pt>
          <cx:pt idx="1274">231.12903225806451</cx:pt>
          <cx:pt idx="1275">230.61290322580646</cx:pt>
          <cx:pt idx="1276">230.2258064516129</cx:pt>
          <cx:pt idx="1277">228.93548387096774</cx:pt>
          <cx:pt idx="1278">228.25806451612902</cx:pt>
          <cx:pt idx="1279">227.90322580645162</cx:pt>
          <cx:pt idx="1280">227.35483870967741</cx:pt>
          <cx:pt idx="1281">225.70967741935485</cx:pt>
          <cx:pt idx="1282">224.67741935483872</cx:pt>
          <cx:pt idx="1283">224.38709677419354</cx:pt>
          <cx:pt idx="1284">223.74193548387098</cx:pt>
          <cx:pt idx="1285">222.70967741935485</cx:pt>
          <cx:pt idx="1286">221.74193548387098</cx:pt>
          <cx:pt idx="1287">220.64516129032259</cx:pt>
          <cx:pt idx="1288">219.80645161290323</cx:pt>
          <cx:pt idx="1289">218.80645161290323</cx:pt>
          <cx:pt idx="1290">218.06451612903226</cx:pt>
          <cx:pt idx="1291">217</cx:pt>
          <cx:pt idx="1292">216.48387096774192</cx:pt>
          <cx:pt idx="1293">215.80645161290323</cx:pt>
          <cx:pt idx="1294">215.54838709677421</cx:pt>
          <cx:pt idx="1295">214.64516129032259</cx:pt>
          <cx:pt idx="1296">213.54838709677421</cx:pt>
          <cx:pt idx="1297">213.16129032258064</cx:pt>
          <cx:pt idx="1298">212.12903225806451</cx:pt>
          <cx:pt idx="1299">211.19354838709677</cx:pt>
          <cx:pt idx="1300">210.09677419354838</cx:pt>
          <cx:pt idx="1301">209.51612903225808</cx:pt>
          <cx:pt idx="1302">208.2258064516129</cx:pt>
          <cx:pt idx="1303">206.48387096774192</cx:pt>
          <cx:pt idx="1304">205.25806451612902</cx:pt>
          <cx:pt idx="1305">204.32258064516128</cx:pt>
          <cx:pt idx="1306">203.70967741935485</cx:pt>
          <cx:pt idx="1307">202.48387096774192</cx:pt>
          <cx:pt idx="1308">202.29032258064515</cx:pt>
          <cx:pt idx="1309">201.87096774193549</cx:pt>
          <cx:pt idx="1310">200.87096774193549</cx:pt>
          <cx:pt idx="1311">200.83870967741936</cx:pt>
          <cx:pt idx="1312">200.96774193548387</cx:pt>
          <cx:pt idx="1313">201.96774193548387</cx:pt>
          <cx:pt idx="1314">201.74193548387098</cx:pt>
          <cx:pt idx="1315">201.41935483870967</cx:pt>
          <cx:pt idx="1316">201.54838709677421</cx:pt>
          <cx:pt idx="1317">201.06451612903226</cx:pt>
          <cx:pt idx="1318">200.87096774193549</cx:pt>
          <cx:pt idx="1319">200.93548387096774</cx:pt>
          <cx:pt idx="1320">200.90322580645162</cx:pt>
          <cx:pt idx="1321">200.2258064516129</cx:pt>
          <cx:pt idx="1322">199.93548387096774</cx:pt>
          <cx:pt idx="1323">200</cx:pt>
          <cx:pt idx="1324">200.35483870967741</cx:pt>
          <cx:pt idx="1325">199.67741935483872</cx:pt>
          <cx:pt idx="1326">199.61290322580646</cx:pt>
          <cx:pt idx="1327">198.93548387096774</cx:pt>
          <cx:pt idx="1328">198.90322580645162</cx:pt>
          <cx:pt idx="1329">198.87096774193549</cx:pt>
          <cx:pt idx="1330">198.35483870967741</cx:pt>
          <cx:pt idx="1331">197.80645161290323</cx:pt>
          <cx:pt idx="1332">197.29032258064515</cx:pt>
          <cx:pt idx="1333">197.90322580645162</cx:pt>
          <cx:pt idx="1334">198.67741935483872</cx:pt>
          <cx:pt idx="1335">198.45161290322579</cx:pt>
          <cx:pt idx="1336">198.06451612903226</cx:pt>
          <cx:pt idx="1337">198.38709677419354</cx:pt>
          <cx:pt idx="1338">198.45161290322579</cx:pt>
          <cx:pt idx="1339">199.32258064516128</cx:pt>
          <cx:pt idx="1340">198.96774193548387</cx:pt>
          <cx:pt idx="1341">199.32258064516128</cx:pt>
          <cx:pt idx="1342">198.32258064516128</cx:pt>
          <cx:pt idx="1343">198.58064516129033</cx:pt>
          <cx:pt idx="1344">198.51612903225808</cx:pt>
          <cx:pt idx="1345">198.06451612903226</cx:pt>
          <cx:pt idx="1346">198.03225806451613</cx:pt>
          <cx:pt idx="1347">197.67741935483872</cx:pt>
          <cx:pt idx="1348">197.96774193548387</cx:pt>
          <cx:pt idx="1349">198.25806451612902</cx:pt>
          <cx:pt idx="1350">198</cx:pt>
          <cx:pt idx="1351">198.38709677419354</cx:pt>
          <cx:pt idx="1352">199.19354838709677</cx:pt>
          <cx:pt idx="1353">199.80645161290323</cx:pt>
          <cx:pt idx="1354">198.96774193548387</cx:pt>
          <cx:pt idx="1355">198</cx:pt>
          <cx:pt idx="1356">198.51612903225808</cx:pt>
          <cx:pt idx="1357">198</cx:pt>
          <cx:pt idx="1358">198.29032258064515</cx:pt>
          <cx:pt idx="1359">198.25806451612902</cx:pt>
          <cx:pt idx="1360">198.16129032258064</cx:pt>
          <cx:pt idx="1361">198.48387096774192</cx:pt>
          <cx:pt idx="1362">198.45161290322579</cx:pt>
          <cx:pt idx="1363">198.51612903225808</cx:pt>
          <cx:pt idx="1364">198.06451612903226</cx:pt>
          <cx:pt idx="1365">197.54838709677421</cx:pt>
          <cx:pt idx="1366">198.61290322580646</cx:pt>
          <cx:pt idx="1367">199.16129032258064</cx:pt>
          <cx:pt idx="1368">199.29032258064515</cx:pt>
          <cx:pt idx="1369">199.32258064516128</cx:pt>
          <cx:pt idx="1370">198.41935483870967</cx:pt>
          <cx:pt idx="1371">199.32258064516128</cx:pt>
          <cx:pt idx="1372">199.35483870967741</cx:pt>
          <cx:pt idx="1373">199.38709677419354</cx:pt>
          <cx:pt idx="1374">199.83870967741936</cx:pt>
          <cx:pt idx="1375">199.90322580645162</cx:pt>
          <cx:pt idx="1376">200.25806451612902</cx:pt>
          <cx:pt idx="1377">199.48387096774192</cx:pt>
          <cx:pt idx="1378">199.7741935483871</cx:pt>
          <cx:pt idx="1379">199.38709677419354</cx:pt>
          <cx:pt idx="1380">199.83870967741936</cx:pt>
          <cx:pt idx="1381">199.25806451612902</cx:pt>
          <cx:pt idx="1382">198.2258064516129</cx:pt>
          <cx:pt idx="1383">197.2258064516129</cx:pt>
          <cx:pt idx="1384">196.83870967741936</cx:pt>
          <cx:pt idx="1385">196.80645161290323</cx:pt>
          <cx:pt idx="1386">197.70967741935485</cx:pt>
          <cx:pt idx="1387">196.70967741935485</cx:pt>
          <cx:pt idx="1388">196.83870967741936</cx:pt>
          <cx:pt idx="1389">197.51612903225808</cx:pt>
          <cx:pt idx="1390">197.32258064516128</cx:pt>
          <cx:pt idx="1391">198</cx:pt>
          <cx:pt idx="1392">197.93548387096774</cx:pt>
          <cx:pt idx="1393">198.64516129032259</cx:pt>
          <cx:pt idx="1394">198.58064516129033</cx:pt>
          <cx:pt idx="1395">198.09677419354838</cx:pt>
          <cx:pt idx="1396">198.67741935483872</cx:pt>
          <cx:pt idx="1397">198.54838709677421</cx:pt>
          <cx:pt idx="1398">197.96774193548387</cx:pt>
          <cx:pt idx="1399">197.83870967741936</cx:pt>
          <cx:pt idx="1400">198.06451612903226</cx:pt>
          <cx:pt idx="1401">198.80645161290323</cx:pt>
          <cx:pt idx="1402">198.16129032258064</cx:pt>
          <cx:pt idx="1403">197.80645161290323</cx:pt>
          <cx:pt idx="1404">197.80645161290323</cx:pt>
          <cx:pt idx="1405">197.64516129032259</cx:pt>
          <cx:pt idx="1406">196.67741935483872</cx:pt>
          <cx:pt idx="1407">196.48387096774192</cx:pt>
          <cx:pt idx="1408">196.48387096774192</cx:pt>
          <cx:pt idx="1409">196.32258064516128</cx:pt>
          <cx:pt idx="1410">197.38709677419354</cx:pt>
          <cx:pt idx="1411">197.38709677419354</cx:pt>
          <cx:pt idx="1412">198.29032258064515</cx:pt>
          <cx:pt idx="1413">198.90322580645162</cx:pt>
          <cx:pt idx="1414">198.93548387096774</cx:pt>
          <cx:pt idx="1415">199.45161290322579</cx:pt>
          <cx:pt idx="1416">200.2258064516129</cx:pt>
          <cx:pt idx="1417">200.35483870967741</cx:pt>
          <cx:pt idx="1418">201.29032258064515</cx:pt>
          <cx:pt idx="1419">201.38709677419354</cx:pt>
          <cx:pt idx="1420">201.35483870967741</cx:pt>
          <cx:pt idx="1421">200.64516129032259</cx:pt>
          <cx:pt idx="1422">200.25806451612902</cx:pt>
          <cx:pt idx="1423">199.83870967741936</cx:pt>
          <cx:pt idx="1424">200.12903225806451</cx:pt>
          <cx:pt idx="1425">199.93548387096774</cx:pt>
          <cx:pt idx="1426">200.58064516129033</cx:pt>
          <cx:pt idx="1427">199.93548387096774</cx:pt>
          <cx:pt idx="1428">199.19354838709677</cx:pt>
          <cx:pt idx="1429">200</cx:pt>
          <cx:pt idx="1430">199.41935483870967</cx:pt>
          <cx:pt idx="1431">199.83870967741936</cx:pt>
          <cx:pt idx="1432">199.09677419354838</cx:pt>
          <cx:pt idx="1433">198.7741935483871</cx:pt>
          <cx:pt idx="1434">199.70967741935485</cx:pt>
          <cx:pt idx="1435">199.54838709677421</cx:pt>
          <cx:pt idx="1436">198.87096774193549</cx:pt>
          <cx:pt idx="1437">198.90322580645162</cx:pt>
          <cx:pt idx="1438">199.12903225806451</cx:pt>
          <cx:pt idx="1439">200.09677419354838</cx:pt>
          <cx:pt idx="1440">200</cx:pt>
          <cx:pt idx="1441">199.93548387096774</cx:pt>
          <cx:pt idx="1442">200.06451612903226</cx:pt>
          <cx:pt idx="1443">199.74193548387098</cx:pt>
          <cx:pt idx="1444">199</cx:pt>
          <cx:pt idx="1445">199.32258064516128</cx:pt>
          <cx:pt idx="1446">198.54838709677421</cx:pt>
          <cx:pt idx="1447">197.96774193548387</cx:pt>
          <cx:pt idx="1448">198.19354838709677</cx:pt>
          <cx:pt idx="1449">197.70967741935485</cx:pt>
          <cx:pt idx="1450">197.35483870967741</cx:pt>
          <cx:pt idx="1451">196.96774193548387</cx:pt>
          <cx:pt idx="1452">197.87096774193549</cx:pt>
          <cx:pt idx="1453">198.41935483870967</cx:pt>
          <cx:pt idx="1454">199.19354838709677</cx:pt>
          <cx:pt idx="1455">198.64516129032259</cx:pt>
          <cx:pt idx="1456">199.03225806451613</cx:pt>
          <cx:pt idx="1457">199</cx:pt>
          <cx:pt idx="1458">199.58064516129033</cx:pt>
          <cx:pt idx="1459">199.74193548387098</cx:pt>
          <cx:pt idx="1460">199.03225806451613</cx:pt>
          <cx:pt idx="1461">199.09677419354838</cx:pt>
          <cx:pt idx="1462">199.32258064516128</cx:pt>
          <cx:pt idx="1463">200.25806451612902</cx:pt>
          <cx:pt idx="1464">200.67741935483872</cx:pt>
          <cx:pt idx="1465">199.90322580645162</cx:pt>
          <cx:pt idx="1466">200.7741935483871</cx:pt>
          <cx:pt idx="1467">201.41935483870967</cx:pt>
          <cx:pt idx="1468">201.96774193548387</cx:pt>
          <cx:pt idx="1469">201.93548387096774</cx:pt>
          <cx:pt idx="1470">202.12903225806451</cx:pt>
          <cx:pt idx="1471">202.12903225806451</cx:pt>
          <cx:pt idx="1472">201.74193548387098</cx:pt>
          <cx:pt idx="1473">201.2258064516129</cx:pt>
          <cx:pt idx="1474">201.09677419354838</cx:pt>
          <cx:pt idx="1475">202.25806451612902</cx:pt>
          <cx:pt idx="1476">202.93548387096774</cx:pt>
          <cx:pt idx="1477">203.38709677419354</cx:pt>
          <cx:pt idx="1478">203.48387096774192</cx:pt>
          <cx:pt idx="1479">202.41935483870967</cx:pt>
          <cx:pt idx="1480">202.90322580645162</cx:pt>
          <cx:pt idx="1481">202.83870967741936</cx:pt>
          <cx:pt idx="1482">203</cx:pt>
          <cx:pt idx="1483">202.2258064516129</cx:pt>
          <cx:pt idx="1484">201.70967741935485</cx:pt>
          <cx:pt idx="1485">201.96774193548387</cx:pt>
          <cx:pt idx="1486">202.45161290322579</cx:pt>
          <cx:pt idx="1487">202.96774193548387</cx:pt>
          <cx:pt idx="1488">202.16129032258064</cx:pt>
          <cx:pt idx="1489">201.70967741935485</cx:pt>
          <cx:pt idx="1490">201.90322580645162</cx:pt>
          <cx:pt idx="1491">201.54838709677421</cx:pt>
          <cx:pt idx="1492">201.09677419354838</cx:pt>
          <cx:pt idx="1493">201.2258064516129</cx:pt>
          <cx:pt idx="1494">200.93548387096774</cx:pt>
          <cx:pt idx="1495">200.93548387096774</cx:pt>
          <cx:pt idx="1496">201.48387096774192</cx:pt>
          <cx:pt idx="1497">201.58064516129033</cx:pt>
          <cx:pt idx="1498">201.25806451612902</cx:pt>
          <cx:pt idx="1499">200.54838709677421</cx:pt>
          <cx:pt idx="1500">200.12903225806451</cx:pt>
          <cx:pt idx="1501">199.64516129032259</cx:pt>
          <cx:pt idx="1502">199.74193548387098</cx:pt>
          <cx:pt idx="1503">199.58064516129033</cx:pt>
          <cx:pt idx="1504">199.35483870967741</cx:pt>
          <cx:pt idx="1505">199.09677419354838</cx:pt>
          <cx:pt idx="1506">198.38709677419354</cx:pt>
          <cx:pt idx="1507">197.7741935483871</cx:pt>
          <cx:pt idx="1508">197.19354838709677</cx:pt>
          <cx:pt idx="1509">197</cx:pt>
          <cx:pt idx="1510">196.83870967741936</cx:pt>
          <cx:pt idx="1511">196.64516129032259</cx:pt>
          <cx:pt idx="1512">197.38709677419354</cx:pt>
          <cx:pt idx="1513">197.96774193548387</cx:pt>
          <cx:pt idx="1514">198.2258064516129</cx:pt>
          <cx:pt idx="1515">198.38709677419354</cx:pt>
          <cx:pt idx="1516">197.93548387096774</cx:pt>
          <cx:pt idx="1517">197.41935483870967</cx:pt>
          <cx:pt idx="1518">197.32258064516128</cx:pt>
          <cx:pt idx="1519">198.25806451612902</cx:pt>
          <cx:pt idx="1520">198.12903225806451</cx:pt>
          <cx:pt idx="1521">197.64516129032259</cx:pt>
          <cx:pt idx="1522">198.29032258064515</cx:pt>
          <cx:pt idx="1523">198.7741935483871</cx:pt>
          <cx:pt idx="1524">198.38709677419354</cx:pt>
          <cx:pt idx="1525">198.70967741935485</cx:pt>
          <cx:pt idx="1526">198.41935483870967</cx:pt>
          <cx:pt idx="1527">198.45161290322579</cx:pt>
          <cx:pt idx="1528">197.51612903225808</cx:pt>
          <cx:pt idx="1529">197.90322580645162</cx:pt>
          <cx:pt idx="1530">197.93548387096774</cx:pt>
          <cx:pt idx="1531">197.83870967741936</cx:pt>
          <cx:pt idx="1532">197.19354838709677</cx:pt>
          <cx:pt idx="1533">197.67741935483872</cx:pt>
          <cx:pt idx="1534">197.96774193548387</cx:pt>
          <cx:pt idx="1535">197.96774193548387</cx:pt>
          <cx:pt idx="1536">198.03225806451613</cx:pt>
          <cx:pt idx="1537">198.12903225806451</cx:pt>
          <cx:pt idx="1538">198.38709677419354</cx:pt>
          <cx:pt idx="1539">198.96774193548387</cx:pt>
          <cx:pt idx="1540">199.67741935483872</cx:pt>
          <cx:pt idx="1541">200.7741935483871</cx:pt>
          <cx:pt idx="1542">200.74193548387098</cx:pt>
          <cx:pt idx="1543">200.74193548387098</cx:pt>
          <cx:pt idx="1544">200.12903225806451</cx:pt>
          <cx:pt idx="1545">200.7741935483871</cx:pt>
          <cx:pt idx="1546">200.80645161290323</cx:pt>
          <cx:pt idx="1547">200.70967741935485</cx:pt>
          <cx:pt idx="1548">200.58064516129033</cx:pt>
          <cx:pt idx="1549">200.74193548387098</cx:pt>
          <cx:pt idx="1550">200.80645161290323</cx:pt>
          <cx:pt idx="1551">201.25806451612902</cx:pt>
          <cx:pt idx="1552">201.19354838709677</cx:pt>
          <cx:pt idx="1553">201.25806451612902</cx:pt>
          <cx:pt idx="1554">201.54838709677421</cx:pt>
          <cx:pt idx="1555">201.54838709677421</cx:pt>
          <cx:pt idx="1556">200.80645161290323</cx:pt>
          <cx:pt idx="1557">201.19354838709677</cx:pt>
          <cx:pt idx="1558">201.51612903225808</cx:pt>
          <cx:pt idx="1559">202.54838709677421</cx:pt>
          <cx:pt idx="1560">202.70967741935485</cx:pt>
          <cx:pt idx="1561">203.35483870967741</cx:pt>
          <cx:pt idx="1562">203.61290322580646</cx:pt>
          <cx:pt idx="1563">204.41935483870967</cx:pt>
          <cx:pt idx="1564">204.7741935483871</cx:pt>
          <cx:pt idx="1565">203.93548387096774</cx:pt>
          <cx:pt idx="1566">204.41935483870967</cx:pt>
          <cx:pt idx="1567">204.64516129032259</cx:pt>
          <cx:pt idx="1568">205.19354838709677</cx:pt>
          <cx:pt idx="1569">205.45161290322579</cx:pt>
          <cx:pt idx="1570">205.67741935483872</cx:pt>
          <cx:pt idx="1571">205.74193548387098</cx:pt>
          <cx:pt idx="1572">205.58064516129033</cx:pt>
          <cx:pt idx="1573">204.83870967741936</cx:pt>
          <cx:pt idx="1574">204.93548387096774</cx:pt>
          <cx:pt idx="1575">204.51612903225808</cx:pt>
          <cx:pt idx="1576">204.32258064516128</cx:pt>
          <cx:pt idx="1577">203.83870967741936</cx:pt>
          <cx:pt idx="1578">203.38709677419354</cx:pt>
          <cx:pt idx="1579">203.45161290322579</cx:pt>
          <cx:pt idx="1580">203.61290322580646</cx:pt>
          <cx:pt idx="1581">203.45161290322579</cx:pt>
          <cx:pt idx="1582">203.90322580645162</cx:pt>
          <cx:pt idx="1583">204.19354838709677</cx:pt>
          <cx:pt idx="1584">204.48387096774192</cx:pt>
          <cx:pt idx="1585">204.38709677419354</cx:pt>
          <cx:pt idx="1586">204.06451612903226</cx:pt>
          <cx:pt idx="1587">204</cx:pt>
          <cx:pt idx="1588">203.67741935483872</cx:pt>
          <cx:pt idx="1589">202.54838709677421</cx:pt>
          <cx:pt idx="1590">202.25806451612902</cx:pt>
          <cx:pt idx="1591">201.64516129032259</cx:pt>
          <cx:pt idx="1592">201.93548387096774</cx:pt>
          <cx:pt idx="1593">201.61290322580646</cx:pt>
          <cx:pt idx="1594">201.19354838709677</cx:pt>
          <cx:pt idx="1595">201.25806451612902</cx:pt>
          <cx:pt idx="1596">202.19354838709677</cx:pt>
          <cx:pt idx="1597">201.7741935483871</cx:pt>
          <cx:pt idx="1598">201.25806451612902</cx:pt>
          <cx:pt idx="1599">201.03225806451613</cx:pt>
          <cx:pt idx="1600">200.67741935483872</cx:pt>
          <cx:pt idx="1601">200.32258064516128</cx:pt>
          <cx:pt idx="1602">199.38709677419354</cx:pt>
          <cx:pt idx="1603">198.45161290322579</cx:pt>
          <cx:pt idx="1604">199.67741935483872</cx:pt>
          <cx:pt idx="1605">198.83870967741936</cx:pt>
          <cx:pt idx="1606">198.96774193548387</cx:pt>
          <cx:pt idx="1607">198</cx:pt>
          <cx:pt idx="1608">198.45161290322579</cx:pt>
          <cx:pt idx="1609">199.12903225806451</cx:pt>
          <cx:pt idx="1610">198.87096774193549</cx:pt>
          <cx:pt idx="1611">198.48387096774192</cx:pt>
          <cx:pt idx="1612">198.51612903225808</cx:pt>
          <cx:pt idx="1613">197.29032258064515</cx:pt>
          <cx:pt idx="1614">197.74193548387098</cx:pt>
          <cx:pt idx="1615">196.64516129032259</cx:pt>
          <cx:pt idx="1616">196.48387096774192</cx:pt>
          <cx:pt idx="1617">196.32258064516128</cx:pt>
          <cx:pt idx="1618">196.70967741935485</cx:pt>
          <cx:pt idx="1619">196.54838709677421</cx:pt>
          <cx:pt idx="1620">197.29032258064515</cx:pt>
          <cx:pt idx="1621">197</cx:pt>
          <cx:pt idx="1622">197.90322580645162</cx:pt>
          <cx:pt idx="1623">197.87096774193549</cx:pt>
          <cx:pt idx="1624">198.2258064516129</cx:pt>
          <cx:pt idx="1625">197.74193548387098</cx:pt>
          <cx:pt idx="1626">196.96774193548387</cx:pt>
          <cx:pt idx="1627">196.83870967741936</cx:pt>
          <cx:pt idx="1628">196.7741935483871</cx:pt>
          <cx:pt idx="1629">197.38709677419354</cx:pt>
          <cx:pt idx="1630">197.03225806451613</cx:pt>
          <cx:pt idx="1631">197.48387096774192</cx:pt>
          <cx:pt idx="1632">197.19354838709677</cx:pt>
          <cx:pt idx="1633">197.06451612903226</cx:pt>
          <cx:pt idx="1634">197.67741935483872</cx:pt>
          <cx:pt idx="1635">197.64516129032259</cx:pt>
          <cx:pt idx="1636">198.19354838709677</cx:pt>
          <cx:pt idx="1637">199.06451612903226</cx:pt>
          <cx:pt idx="1638">199.25806451612902</cx:pt>
          <cx:pt idx="1639">199.48387096774192</cx:pt>
          <cx:pt idx="1640">198.90322580645162</cx:pt>
          <cx:pt idx="1641">199.12903225806451</cx:pt>
          <cx:pt idx="1642">198.35483870967741</cx:pt>
          <cx:pt idx="1643">197.67741935483872</cx:pt>
          <cx:pt idx="1644">198.87096774193549</cx:pt>
          <cx:pt idx="1645">199.19354838709677</cx:pt>
          <cx:pt idx="1646">199.25806451612902</cx:pt>
          <cx:pt idx="1647">199.67741935483872</cx:pt>
          <cx:pt idx="1648">199.93548387096774</cx:pt>
          <cx:pt idx="1649">199.7741935483871</cx:pt>
          <cx:pt idx="1650">199.58064516129033</cx:pt>
          <cx:pt idx="1651">199.03225806451613</cx:pt>
          <cx:pt idx="1652">199.74193548387098</cx:pt>
          <cx:pt idx="1653">199.12903225806451</cx:pt>
          <cx:pt idx="1654">199.29032258064515</cx:pt>
          <cx:pt idx="1655">198.87096774193549</cx:pt>
          <cx:pt idx="1656">199.16129032258064</cx:pt>
          <cx:pt idx="1657">199.16129032258064</cx:pt>
          <cx:pt idx="1658">199.25806451612902</cx:pt>
          <cx:pt idx="1659">199.7741935483871</cx:pt>
          <cx:pt idx="1660">199.12903225806451</cx:pt>
          <cx:pt idx="1661">199.7741935483871</cx:pt>
          <cx:pt idx="1662">198.70967741935485</cx:pt>
          <cx:pt idx="1663">198.83870967741936</cx:pt>
          <cx:pt idx="1664">200</cx:pt>
          <cx:pt idx="1665">199.96774193548387</cx:pt>
          <cx:pt idx="1666">199.35483870967741</cx:pt>
          <cx:pt idx="1667">199.90322580645162</cx:pt>
          <cx:pt idx="1668">198.67741935483872</cx:pt>
          <cx:pt idx="1669">199.2258064516129</cx:pt>
          <cx:pt idx="1670">198.16129032258064</cx:pt>
          <cx:pt idx="1671">198.7741935483871</cx:pt>
          <cx:pt idx="1672">198.70967741935485</cx:pt>
          <cx:pt idx="1673">199.25806451612902</cx:pt>
          <cx:pt idx="1674">199</cx:pt>
          <cx:pt idx="1675">198.35483870967741</cx:pt>
          <cx:pt idx="1676">198.09677419354838</cx:pt>
          <cx:pt idx="1677">198.48387096774192</cx:pt>
          <cx:pt idx="1678">197.83870967741936</cx:pt>
          <cx:pt idx="1679">197.87096774193549</cx:pt>
          <cx:pt idx="1680">197.54838709677421</cx:pt>
          <cx:pt idx="1681">198.54838709677421</cx:pt>
          <cx:pt idx="1682">199.09677419354838</cx:pt>
          <cx:pt idx="1683">198.38709677419354</cx:pt>
          <cx:pt idx="1684">197.87096774193549</cx:pt>
          <cx:pt idx="1685">197.80645161290323</cx:pt>
          <cx:pt idx="1686">198.48387096774192</cx:pt>
          <cx:pt idx="1687">198.90322580645162</cx:pt>
          <cx:pt idx="1688">198.67741935483872</cx:pt>
          <cx:pt idx="1689">197.80645161290323</cx:pt>
          <cx:pt idx="1690">198.29032258064515</cx:pt>
          <cx:pt idx="1691">199.32258064516128</cx:pt>
          <cx:pt idx="1692">198.67741935483872</cx:pt>
          <cx:pt idx="1693">199.7741935483871</cx:pt>
          <cx:pt idx="1694">199.41935483870967</cx:pt>
          <cx:pt idx="1695">198.83870967741936</cx:pt>
          <cx:pt idx="1696">199.16129032258064</cx:pt>
          <cx:pt idx="1697">198.51612903225808</cx:pt>
          <cx:pt idx="1698">198.48387096774192</cx:pt>
          <cx:pt idx="1699">200.03225806451613</cx:pt>
          <cx:pt idx="1700">200.83870967741936</cx:pt>
          <cx:pt idx="1701">202.16129032258064</cx:pt>
          <cx:pt idx="1702">203.03225806451613</cx:pt>
          <cx:pt idx="1703">204.03225806451613</cx:pt>
          <cx:pt idx="1704">205.2258064516129</cx:pt>
          <cx:pt idx="1705">207.12903225806451</cx:pt>
          <cx:pt idx="1706">207.93548387096774</cx:pt>
          <cx:pt idx="1707">208.7741935483871</cx:pt>
          <cx:pt idx="1708">209.70967741935485</cx:pt>
          <cx:pt idx="1709">211.03225806451613</cx:pt>
          <cx:pt idx="1710">212.16129032258064</cx:pt>
          <cx:pt idx="1711">213.64516129032259</cx:pt>
          <cx:pt idx="1712">213.96774193548387</cx:pt>
          <cx:pt idx="1713">214.96774193548387</cx:pt>
          <cx:pt idx="1714">215.74193548387098</cx:pt>
          <cx:pt idx="1715">217.45161290322579</cx:pt>
          <cx:pt idx="1716">217.7741935483871</cx:pt>
          <cx:pt idx="1717">218.32258064516128</cx:pt>
          <cx:pt idx="1718">219.51612903225808</cx:pt>
          <cx:pt idx="1719">221.16129032258064</cx:pt>
          <cx:pt idx="1720">222.51612903225808</cx:pt>
          <cx:pt idx="1721">222.74193548387098</cx:pt>
          <cx:pt idx="1722">223.54838709677421</cx:pt>
          <cx:pt idx="1723">224.51612903225808</cx:pt>
          <cx:pt idx="1724">224.61290322580646</cx:pt>
          <cx:pt idx="1725">225.7741935483871</cx:pt>
          <cx:pt idx="1726">226.80645161290323</cx:pt>
          <cx:pt idx="1727">227.16129032258064</cx:pt>
          <cx:pt idx="1728">228.67741935483872</cx:pt>
          <cx:pt idx="1729">228.83870967741936</cx:pt>
          <cx:pt idx="1730">228.61290322580646</cx:pt>
          <cx:pt idx="1731">228.54838709677421</cx:pt>
          <cx:pt idx="1732">228.96774193548387</cx:pt>
          <cx:pt idx="1733">228.83870967741936</cx:pt>
          <cx:pt idx="1734">229.19354838709677</cx:pt>
          <cx:pt idx="1735">228.93548387096774</cx:pt>
          <cx:pt idx="1736">228.48387096774192</cx:pt>
          <cx:pt idx="1737">228.58064516129033</cx:pt>
          <cx:pt idx="1738">228.09677419354838</cx:pt>
          <cx:pt idx="1739">228.2258064516129</cx:pt>
          <cx:pt idx="1740">228.03225806451613</cx:pt>
          <cx:pt idx="1741">227.90322580645162</cx:pt>
          <cx:pt idx="1742">227.90322580645162</cx:pt>
          <cx:pt idx="1743">226.58064516129033</cx:pt>
          <cx:pt idx="1744">224.93548387096774</cx:pt>
          <cx:pt idx="1745">224.64516129032259</cx:pt>
          <cx:pt idx="1746">222.87096774193549</cx:pt>
          <cx:pt idx="1747">222.32258064516128</cx:pt>
          <cx:pt idx="1748">221</cx:pt>
          <cx:pt idx="1749">220.35483870967741</cx:pt>
          <cx:pt idx="1750">219.06451612903226</cx:pt>
          <cx:pt idx="1751">218.29032258064515</cx:pt>
          <cx:pt idx="1752">217.48387096774192</cx:pt>
          <cx:pt idx="1753">215.67741935483872</cx:pt>
          <cx:pt idx="1754">214.64516129032259</cx:pt>
          <cx:pt idx="1755">213.83870967741936</cx:pt>
          <cx:pt idx="1756">212.58064516129033</cx:pt>
          <cx:pt idx="1757">212.03225806451613</cx:pt>
          <cx:pt idx="1758">211.03225806451613</cx:pt>
          <cx:pt idx="1759">210.35483870967741</cx:pt>
          <cx:pt idx="1760">209.7741935483871</cx:pt>
          <cx:pt idx="1761">208.54838709677421</cx:pt>
          <cx:pt idx="1762">208</cx:pt>
          <cx:pt idx="1763">207.16129032258064</cx:pt>
          <cx:pt idx="1764">206.09677419354838</cx:pt>
          <cx:pt idx="1765">205.58064516129033</cx:pt>
          <cx:pt idx="1766">204.80645161290323</cx:pt>
          <cx:pt idx="1767">204.38709677419354</cx:pt>
          <cx:pt idx="1768">202.96774193548387</cx:pt>
          <cx:pt idx="1769">202.38709677419354</cx:pt>
          <cx:pt idx="1770">201.19354838709677</cx:pt>
          <cx:pt idx="1771">199.7741935483871</cx:pt>
          <cx:pt idx="1772">198.45161290322579</cx:pt>
          <cx:pt idx="1773">197.61290322580646</cx:pt>
          <cx:pt idx="1774">198.32258064516128</cx:pt>
          <cx:pt idx="1775">198.61290322580646</cx:pt>
          <cx:pt idx="1776">198.87096774193549</cx:pt>
          <cx:pt idx="1777">199.96774193548387</cx:pt>
          <cx:pt idx="1778">200.03225806451613</cx:pt>
          <cx:pt idx="1779">199.96774193548387</cx:pt>
          <cx:pt idx="1780">199.61290322580646</cx:pt>
          <cx:pt idx="1781">199.58064516129033</cx:pt>
          <cx:pt idx="1782">199.83870967741936</cx:pt>
          <cx:pt idx="1783">200.32258064516128</cx:pt>
          <cx:pt idx="1784">200.2258064516129</cx:pt>
          <cx:pt idx="1785">200.64516129032259</cx:pt>
          <cx:pt idx="1786">201.35483870967741</cx:pt>
          <cx:pt idx="1787">201.80645161290323</cx:pt>
          <cx:pt idx="1788">200.80645161290323</cx:pt>
          <cx:pt idx="1789">201.58064516129033</cx:pt>
          <cx:pt idx="1790">200.74193548387098</cx:pt>
          <cx:pt idx="1791">200.03225806451613</cx:pt>
          <cx:pt idx="1792">200.83870967741936</cx:pt>
          <cx:pt idx="1793">200.29032258064515</cx:pt>
          <cx:pt idx="1794">200</cx:pt>
          <cx:pt idx="1795">199.58064516129033</cx:pt>
          <cx:pt idx="1796">199.67741935483872</cx:pt>
          <cx:pt idx="1797">199.74193548387098</cx:pt>
          <cx:pt idx="1798">199.67741935483872</cx:pt>
          <cx:pt idx="1799">199.7741935483871</cx:pt>
          <cx:pt idx="1800">199.83870967741936</cx:pt>
          <cx:pt idx="1801">200.32258064516128</cx:pt>
          <cx:pt idx="1802">200.54838709677421</cx:pt>
          <cx:pt idx="1803">200.41935483870967</cx:pt>
          <cx:pt idx="1804">200.09677419354838</cx:pt>
          <cx:pt idx="1805">199.93548387096774</cx:pt>
          <cx:pt idx="1806">200.09677419354838</cx:pt>
          <cx:pt idx="1807">199.25806451612902</cx:pt>
          <cx:pt idx="1808">198.25806451612902</cx:pt>
          <cx:pt idx="1809">197.80645161290323</cx:pt>
          <cx:pt idx="1810">197.83870967741936</cx:pt>
          <cx:pt idx="1811">196.93548387096774</cx:pt>
          <cx:pt idx="1812">197.09677419354838</cx:pt>
          <cx:pt idx="1813">197.2258064516129</cx:pt>
          <cx:pt idx="1814">197.35483870967741</cx:pt>
          <cx:pt idx="1815">198.51612903225808</cx:pt>
          <cx:pt idx="1816">198.32258064516128</cx:pt>
          <cx:pt idx="1817">198</cx:pt>
          <cx:pt idx="1818">197.58064516129033</cx:pt>
          <cx:pt idx="1819">198.32258064516128</cx:pt>
          <cx:pt idx="1820">197.38709677419354</cx:pt>
          <cx:pt idx="1821">198.35483870967741</cx:pt>
          <cx:pt idx="1822">199.51612903225808</cx:pt>
          <cx:pt idx="1823">198.87096774193549</cx:pt>
          <cx:pt idx="1824">199.51612903225808</cx:pt>
          <cx:pt idx="1825">199</cx:pt>
          <cx:pt idx="1826">199.74193548387098</cx:pt>
          <cx:pt idx="1827">199.2258064516129</cx:pt>
          <cx:pt idx="1828">198.48387096774192</cx:pt>
          <cx:pt idx="1829">197.74193548387098</cx:pt>
          <cx:pt idx="1830">198.51612903225808</cx:pt>
          <cx:pt idx="1831">198</cx:pt>
          <cx:pt idx="1832">197.48387096774192</cx:pt>
          <cx:pt idx="1833">197.32258064516128</cx:pt>
          <cx:pt idx="1834">197.38709677419354</cx:pt>
          <cx:pt idx="1835">197.80645161290323</cx:pt>
          <cx:pt idx="1836">197.51612903225808</cx:pt>
          <cx:pt idx="1837">197.80645161290323</cx:pt>
          <cx:pt idx="1838">198.48387096774192</cx:pt>
          <cx:pt idx="1839">199.38709677419354</cx:pt>
          <cx:pt idx="1840">199</cx:pt>
          <cx:pt idx="1841">199.80645161290323</cx:pt>
          <cx:pt idx="1842">200.74193548387098</cx:pt>
          <cx:pt idx="1843">200.83870967741936</cx:pt>
          <cx:pt idx="1844">200.67741935483872</cx:pt>
          <cx:pt idx="1845">199.51612903225808</cx:pt>
          <cx:pt idx="1846">199.32258064516128</cx:pt>
          <cx:pt idx="1847">199.74193548387098</cx:pt>
          <cx:pt idx="1848">199.29032258064515</cx:pt>
          <cx:pt idx="1849">200.38709677419354</cx:pt>
          <cx:pt idx="1850">200.74193548387098</cx:pt>
          <cx:pt idx="1851">201.87096774193549</cx:pt>
          <cx:pt idx="1852">201.74193548387098</cx:pt>
          <cx:pt idx="1853">200.87096774193549</cx:pt>
          <cx:pt idx="1854">201.7741935483871</cx:pt>
          <cx:pt idx="1855">201.54838709677421</cx:pt>
          <cx:pt idx="1856">201.61290322580646</cx:pt>
          <cx:pt idx="1857">201.90322580645162</cx:pt>
          <cx:pt idx="1858">201.32258064516128</cx:pt>
          <cx:pt idx="1859">202.48387096774192</cx:pt>
          <cx:pt idx="1860">202.80645161290323</cx:pt>
          <cx:pt idx="1861">201.83870967741936</cx:pt>
          <cx:pt idx="1862">202.06451612903226</cx:pt>
          <cx:pt idx="1863">202.61290322580646</cx:pt>
          <cx:pt idx="1864">202.48387096774192</cx:pt>
          <cx:pt idx="1865">203.19354838709677</cx:pt>
          <cx:pt idx="1866">203.25806451612902</cx:pt>
          <cx:pt idx="1867">203.35483870967741</cx:pt>
          <cx:pt idx="1868">202.90322580645162</cx:pt>
          <cx:pt idx="1869">202.87096774193549</cx:pt>
          <cx:pt idx="1870">202.87096774193549</cx:pt>
          <cx:pt idx="1871">203.54838709677421</cx:pt>
          <cx:pt idx="1872">202.83870967741936</cx:pt>
          <cx:pt idx="1873">202.35483870967741</cx:pt>
          <cx:pt idx="1874">201.90322580645162</cx:pt>
          <cx:pt idx="1875">201.35483870967741</cx:pt>
          <cx:pt idx="1876">201.74193548387098</cx:pt>
          <cx:pt idx="1877">201.29032258064515</cx:pt>
          <cx:pt idx="1878">200.58064516129033</cx:pt>
          <cx:pt idx="1879">200.93548387096774</cx:pt>
          <cx:pt idx="1880">199.7741935483871</cx:pt>
          <cx:pt idx="1881">199.48387096774192</cx:pt>
          <cx:pt idx="1882">199.2258064516129</cx:pt>
          <cx:pt idx="1883">199.54838709677421</cx:pt>
          <cx:pt idx="1884">199.19354838709677</cx:pt>
          <cx:pt idx="1885">199.2258064516129</cx:pt>
          <cx:pt idx="1886">199.09677419354838</cx:pt>
          <cx:pt idx="1887">200.58064516129033</cx:pt>
          <cx:pt idx="1888">200.93548387096774</cx:pt>
          <cx:pt idx="1889">202.29032258064515</cx:pt>
          <cx:pt idx="1890">202.90322580645162</cx:pt>
          <cx:pt idx="1891">203.67741935483872</cx:pt>
          <cx:pt idx="1892">205.61290322580646</cx:pt>
          <cx:pt idx="1893">206.58064516129033</cx:pt>
          <cx:pt idx="1894">207.25806451612902</cx:pt>
          <cx:pt idx="1895">208.7741935483871</cx:pt>
          <cx:pt idx="1896">209.51612903225808</cx:pt>
          <cx:pt idx="1897">210.19354838709677</cx:pt>
          <cx:pt idx="1898">211.51612903225808</cx:pt>
          <cx:pt idx="1899">212.48387096774192</cx:pt>
          <cx:pt idx="1900">213.12903225806451</cx:pt>
          <cx:pt idx="1901">213.7741935483871</cx:pt>
          <cx:pt idx="1902">214.70967741935485</cx:pt>
          <cx:pt idx="1903">216.41935483870967</cx:pt>
          <cx:pt idx="1904">217.90322580645162</cx:pt>
          <cx:pt idx="1905">219.29032258064515</cx:pt>
          <cx:pt idx="1906">220.54838709677421</cx:pt>
          <cx:pt idx="1907">221.45161290322579</cx:pt>
          <cx:pt idx="1908">222.45161290322579</cx:pt>
          <cx:pt idx="1909">223.41935483870967</cx:pt>
          <cx:pt idx="1910">224.29032258064515</cx:pt>
          <cx:pt idx="1911">225.87096774193549</cx:pt>
          <cx:pt idx="1912">226.29032258064515</cx:pt>
          <cx:pt idx="1913">227.03225806451613</cx:pt>
          <cx:pt idx="1914">227.70967741935485</cx:pt>
          <cx:pt idx="1915">229.58064516129033</cx:pt>
          <cx:pt idx="1916">230.09677419354838</cx:pt>
          <cx:pt idx="1917">230.67741935483872</cx:pt>
          <cx:pt idx="1918">230.83870967741936</cx:pt>
          <cx:pt idx="1919">231.2258064516129</cx:pt>
          <cx:pt idx="1920">231.38709677419354</cx:pt>
          <cx:pt idx="1921">231.03225806451613</cx:pt>
          <cx:pt idx="1922">231.29032258064515</cx:pt>
          <cx:pt idx="1923">231</cx:pt>
          <cx:pt idx="1924">231.35483870967741</cx:pt>
          <cx:pt idx="1925">231.74193548387098</cx:pt>
          <cx:pt idx="1926">231.87096774193549</cx:pt>
          <cx:pt idx="1927">231.83870967741936</cx:pt>
          <cx:pt idx="1928">231.58064516129033</cx:pt>
          <cx:pt idx="1929">231.64516129032259</cx:pt>
          <cx:pt idx="1930">232.09677419354838</cx:pt>
          <cx:pt idx="1931">231.64516129032259</cx:pt>
          <cx:pt idx="1932">230.19354838709677</cx:pt>
          <cx:pt idx="1933">229.67741935483872</cx:pt>
          <cx:pt idx="1934">228.03225806451613</cx:pt>
          <cx:pt idx="1935">226.32258064516128</cx:pt>
          <cx:pt idx="1936">225.74193548387098</cx:pt>
          <cx:pt idx="1937">224.35483870967741</cx:pt>
          <cx:pt idx="1938">223.45161290322579</cx:pt>
          <cx:pt idx="1939">222.29032258064515</cx:pt>
          <cx:pt idx="1940">221.41935483870967</cx:pt>
          <cx:pt idx="1941">219.87096774193549</cx:pt>
          <cx:pt idx="1942">218.90322580645162</cx:pt>
          <cx:pt idx="1943">218.12903225806451</cx:pt>
          <cx:pt idx="1944">216.93548387096774</cx:pt>
          <cx:pt idx="1945">215.61290322580646</cx:pt>
          <cx:pt idx="1946">214.54838709677421</cx:pt>
          <cx:pt idx="1947">213</cx:pt>
          <cx:pt idx="1948">211.93548387096774</cx:pt>
          <cx:pt idx="1949">210.93548387096774</cx:pt>
          <cx:pt idx="1950">209.80645161290323</cx:pt>
          <cx:pt idx="1951">208.90322580645162</cx:pt>
          <cx:pt idx="1952">208.64516129032259</cx:pt>
          <cx:pt idx="1953">207.16129032258064</cx:pt>
          <cx:pt idx="1954">205.80645161290323</cx:pt>
          <cx:pt idx="1955">205.19354838709677</cx:pt>
          <cx:pt idx="1956">203.32258064516128</cx:pt>
          <cx:pt idx="1957">202.03225806451613</cx:pt>
          <cx:pt idx="1958">200.7741935483871</cx:pt>
          <cx:pt idx="1959">199.54838709677421</cx:pt>
          <cx:pt idx="1960">197.74193548387098</cx:pt>
          <cx:pt idx="1961">196.29032258064515</cx:pt>
          <cx:pt idx="1962">196.09677419354838</cx:pt>
          <cx:pt idx="1963">196</cx:pt>
          <cx:pt idx="1964">196</cx:pt>
          <cx:pt idx="1965">196.96774193548387</cx:pt>
          <cx:pt idx="1966">197.2258064516129</cx:pt>
          <cx:pt idx="1967">197.32258064516128</cx:pt>
          <cx:pt idx="1968">197.64516129032259</cx:pt>
          <cx:pt idx="1969">198</cx:pt>
          <cx:pt idx="1970">198.74193548387098</cx:pt>
          <cx:pt idx="1971">198.90322580645162</cx:pt>
          <cx:pt idx="1972">200</cx:pt>
          <cx:pt idx="1973">200.41935483870967</cx:pt>
          <cx:pt idx="1974">201.09677419354838</cx:pt>
          <cx:pt idx="1975">201.32258064516128</cx:pt>
          <cx:pt idx="1976">201.61290322580646</cx:pt>
          <cx:pt idx="1977">200.83870967741936</cx:pt>
          <cx:pt idx="1978">201.03225806451613</cx:pt>
          <cx:pt idx="1979">201.09677419354838</cx:pt>
          <cx:pt idx="1980">200.29032258064515</cx:pt>
          <cx:pt idx="1981">200.38709677419354</cx:pt>
          <cx:pt idx="1982">199.7741935483871</cx:pt>
          <cx:pt idx="1983">199.19354838709677</cx:pt>
          <cx:pt idx="1984">200.2258064516129</cx:pt>
          <cx:pt idx="1985">200.06451612903226</cx:pt>
          <cx:pt idx="1986">199.74193548387098</cx:pt>
          <cx:pt idx="1987">200.70967741935485</cx:pt>
          <cx:pt idx="1988">200.70967741935485</cx:pt>
          <cx:pt idx="1989">201.29032258064515</cx:pt>
          <cx:pt idx="1990">201.80645161290323</cx:pt>
          <cx:pt idx="1991">202.74193548387098</cx:pt>
          <cx:pt idx="1992">203.2258064516129</cx:pt>
          <cx:pt idx="1993">202.2258064516129</cx:pt>
          <cx:pt idx="1994">202.35483870967741</cx:pt>
          <cx:pt idx="1995">201.87096774193549</cx:pt>
          <cx:pt idx="1996">201.93548387096774</cx:pt>
          <cx:pt idx="1997">202.58064516129033</cx:pt>
          <cx:pt idx="1998">202.7741935483871</cx:pt>
          <cx:pt idx="1999">202.45161290322579</cx:pt>
          <cx:pt idx="2000">202.45161290322579</cx:pt>
          <cx:pt idx="2001">202.19354838709677</cx:pt>
          <cx:pt idx="2002">202.83870967741936</cx:pt>
          <cx:pt idx="2003">202.25806451612902</cx:pt>
          <cx:pt idx="2004">202.32258064516128</cx:pt>
          <cx:pt idx="2005">201.90322580645162</cx:pt>
          <cx:pt idx="2006">201.7741935483871</cx:pt>
          <cx:pt idx="2007">201.67741935483872</cx:pt>
          <cx:pt idx="2008">202.03225806451613</cx:pt>
          <cx:pt idx="2009">201.93548387096774</cx:pt>
          <cx:pt idx="2010">201.93548387096774</cx:pt>
          <cx:pt idx="2011">202.70967741935485</cx:pt>
          <cx:pt idx="2012">202.80645161290323</cx:pt>
          <cx:pt idx="2013">203</cx:pt>
          <cx:pt idx="2014">203.2258064516129</cx:pt>
          <cx:pt idx="2015">202.32258064516128</cx:pt>
          <cx:pt idx="2016">203.16129032258064</cx:pt>
          <cx:pt idx="2017">202.80645161290323</cx:pt>
          <cx:pt idx="2018">202.35483870967741</cx:pt>
          <cx:pt idx="2019">202.06451612903226</cx:pt>
          <cx:pt idx="2020">201.61290322580646</cx:pt>
          <cx:pt idx="2021">201.29032258064515</cx:pt>
          <cx:pt idx="2022">201.54838709677421</cx:pt>
          <cx:pt idx="2023">201.83870967741936</cx:pt>
          <cx:pt idx="2024">203.03225806451613</cx:pt>
          <cx:pt idx="2025">204.03225806451613</cx:pt>
          <cx:pt idx="2026">203.2258064516129</cx:pt>
          <cx:pt idx="2027">202.7741935483871</cx:pt>
          <cx:pt idx="2028">202.09677419354838</cx:pt>
          <cx:pt idx="2029">201.19354838709677</cx:pt>
          <cx:pt idx="2030">201.45161290322579</cx:pt>
          <cx:pt idx="2031">201.61290322580646</cx:pt>
          <cx:pt idx="2032">201.74193548387098</cx:pt>
          <cx:pt idx="2033">201.70967741935485</cx:pt>
          <cx:pt idx="2034">201.58064516129033</cx:pt>
          <cx:pt idx="2035">200.93548387096774</cx:pt>
          <cx:pt idx="2036">200.09677419354838</cx:pt>
          <cx:pt idx="2037">200.70967741935485</cx:pt>
          <cx:pt idx="2038">201.06451612903226</cx:pt>
          <cx:pt idx="2039">201</cx:pt>
          <cx:pt idx="2040">201.61290322580646</cx:pt>
          <cx:pt idx="2041">201.67741935483872</cx:pt>
          <cx:pt idx="2042">201.74193548387098</cx:pt>
          <cx:pt idx="2043">201.25806451612902</cx:pt>
          <cx:pt idx="2044">201.38709677419354</cx:pt>
          <cx:pt idx="2045">201.83870967741936</cx:pt>
          <cx:pt idx="2046">202.16129032258064</cx:pt>
          <cx:pt idx="2047">201.61290322580646</cx:pt>
          <cx:pt idx="2048">201.90322580645162</cx:pt>
          <cx:pt idx="2049">202.35483870967741</cx:pt>
          <cx:pt idx="2050">202.45161290322579</cx:pt>
          <cx:pt idx="2051">202.51612903225808</cx:pt>
          <cx:pt idx="2052">202.58064516129033</cx:pt>
          <cx:pt idx="2053">201.51612903225808</cx:pt>
          <cx:pt idx="2054">200.48387096774192</cx:pt>
          <cx:pt idx="2055">200.03225806451613</cx:pt>
          <cx:pt idx="2056">199.03225806451613</cx:pt>
          <cx:pt idx="2057">199.09677419354838</cx:pt>
          <cx:pt idx="2058">198.90322580645162</cx:pt>
          <cx:pt idx="2059">199.64516129032259</cx:pt>
          <cx:pt idx="2060">199.90322580645162</cx:pt>
          <cx:pt idx="2061">199.7741935483871</cx:pt>
          <cx:pt idx="2062">198.87096774193549</cx:pt>
          <cx:pt idx="2063">198.32258064516128</cx:pt>
          <cx:pt idx="2064">197.90322580645162</cx:pt>
          <cx:pt idx="2065">197.64516129032259</cx:pt>
          <cx:pt idx="2066">198</cx:pt>
          <cx:pt idx="2067">198.32258064516128</cx:pt>
          <cx:pt idx="2068">197.54838709677421</cx:pt>
          <cx:pt idx="2069">197.03225806451613</cx:pt>
          <cx:pt idx="2070">196.96774193548387</cx:pt>
          <cx:pt idx="2071">196.12903225806451</cx:pt>
          <cx:pt idx="2072">196.06451612903226</cx:pt>
          <cx:pt idx="2073">195.64516129032259</cx:pt>
          <cx:pt idx="2074">196.38709677419354</cx:pt>
          <cx:pt idx="2075">196.70967741935485</cx:pt>
          <cx:pt idx="2076">195.7741935483871</cx:pt>
          <cx:pt idx="2077">195.25806451612902</cx:pt>
          <cx:pt idx="2078">195.58064516129033</cx:pt>
          <cx:pt idx="2079">195.90322580645162</cx:pt>
          <cx:pt idx="2080">194.87096774193549</cx:pt>
          <cx:pt idx="2081">195.29032258064515</cx:pt>
          <cx:pt idx="2082">195.2258064516129</cx:pt>
          <cx:pt idx="2083">195.70967741935485</cx:pt>
          <cx:pt idx="2084">196.74193548387098</cx:pt>
          <cx:pt idx="2085">196.74193548387098</cx:pt>
          <cx:pt idx="2086">196.96774193548387</cx:pt>
          <cx:pt idx="2087">197.80645161290323</cx:pt>
          <cx:pt idx="2088">198.16129032258064</cx:pt>
          <cx:pt idx="2089">198.16129032258064</cx:pt>
          <cx:pt idx="2090">198.09677419354838</cx:pt>
          <cx:pt idx="2091">198.48387096774192</cx:pt>
          <cx:pt idx="2092">198.64516129032259</cx:pt>
          <cx:pt idx="2093">199.90322580645162</cx:pt>
          <cx:pt idx="2094">200.12903225806451</cx:pt>
          <cx:pt idx="2095">199.48387096774192</cx:pt>
          <cx:pt idx="2096">199.74193548387098</cx:pt>
          <cx:pt idx="2097">198.90322580645162</cx:pt>
          <cx:pt idx="2098">199.74193548387098</cx:pt>
          <cx:pt idx="2099">199.64516129032259</cx:pt>
          <cx:pt idx="2100">199.41935483870967</cx:pt>
          <cx:pt idx="2101">199.51612903225808</cx:pt>
          <cx:pt idx="2102">199.45161290322579</cx:pt>
          <cx:pt idx="2103">199.64516129032259</cx:pt>
          <cx:pt idx="2104">199.96774193548387</cx:pt>
          <cx:pt idx="2105">199.80645161290323</cx:pt>
          <cx:pt idx="2106">200.06451612903226</cx:pt>
          <cx:pt idx="2107">199.96774193548387</cx:pt>
          <cx:pt idx="2108">200.51612903225808</cx:pt>
          <cx:pt idx="2109">200.7741935483871</cx:pt>
          <cx:pt idx="2110">200.7741935483871</cx:pt>
          <cx:pt idx="2111">201.51612903225808</cx:pt>
          <cx:pt idx="2112">201.58064516129033</cx:pt>
          <cx:pt idx="2113">201.61290322580646</cx:pt>
          <cx:pt idx="2114">201.51612903225808</cx:pt>
          <cx:pt idx="2115">201.41935483870967</cx:pt>
          <cx:pt idx="2116">202.06451612903226</cx:pt>
          <cx:pt idx="2117">201.80645161290323</cx:pt>
          <cx:pt idx="2118">201.70967741935485</cx:pt>
          <cx:pt idx="2119">201.93548387096774</cx:pt>
          <cx:pt idx="2120">201.41935483870967</cx:pt>
          <cx:pt idx="2121">200.83870967741936</cx:pt>
          <cx:pt idx="2122">199.96774193548387</cx:pt>
          <cx:pt idx="2123">200.64516129032259</cx:pt>
          <cx:pt idx="2124">200.61290322580646</cx:pt>
          <cx:pt idx="2125">200.93548387096774</cx:pt>
          <cx:pt idx="2126">201</cx:pt>
          <cx:pt idx="2127">201.06451612903226</cx:pt>
          <cx:pt idx="2128">201.29032258064515</cx:pt>
          <cx:pt idx="2129">201.38709677419354</cx:pt>
          <cx:pt idx="2130">202.06451612903226</cx:pt>
          <cx:pt idx="2131">202.61290322580646</cx:pt>
          <cx:pt idx="2132">202.51612903225808</cx:pt>
          <cx:pt idx="2133">203.70967741935485</cx:pt>
          <cx:pt idx="2134">203.90322580645162</cx:pt>
          <cx:pt idx="2135">203.2258064516129</cx:pt>
          <cx:pt idx="2136">202.2258064516129</cx:pt>
          <cx:pt idx="2137">202.25806451612902</cx:pt>
          <cx:pt idx="2138">203.12903225806451</cx:pt>
          <cx:pt idx="2139">202.54838709677421</cx:pt>
          <cx:pt idx="2140">202.41935483870967</cx:pt>
          <cx:pt idx="2141">201.38709677419354</cx:pt>
          <cx:pt idx="2142">200.64516129032259</cx:pt>
          <cx:pt idx="2143">201.19354838709677</cx:pt>
          <cx:pt idx="2144">200.7741935483871</cx:pt>
          <cx:pt idx="2145">200.12903225806451</cx:pt>
          <cx:pt idx="2146">199.51612903225808</cx:pt>
          <cx:pt idx="2147">199.35483870967741</cx:pt>
          <cx:pt idx="2148">199.7741935483871</cx:pt>
          <cx:pt idx="2149">199.54838709677421</cx:pt>
          <cx:pt idx="2150">199.25806451612902</cx:pt>
          <cx:pt idx="2151">199.48387096774192</cx:pt>
          <cx:pt idx="2152">199.41935483870967</cx:pt>
          <cx:pt idx="2153">200.41935483870967</cx:pt>
          <cx:pt idx="2154">200.48387096774192</cx:pt>
          <cx:pt idx="2155">200.29032258064515</cx:pt>
          <cx:pt idx="2156">200.35483870967741</cx:pt>
          <cx:pt idx="2157">200.32258064516128</cx:pt>
          <cx:pt idx="2158">199.80645161290323</cx:pt>
          <cx:pt idx="2159">200</cx:pt>
          <cx:pt idx="2160">199.45161290322579</cx:pt>
          <cx:pt idx="2161">199.45161290322579</cx:pt>
          <cx:pt idx="2162">199.35483870967741</cx:pt>
          <cx:pt idx="2163">199.67741935483872</cx:pt>
          <cx:pt idx="2164">198.67741935483872</cx:pt>
          <cx:pt idx="2165">199</cx:pt>
          <cx:pt idx="2166">199.48387096774192</cx:pt>
          <cx:pt idx="2167">199.67741935483872</cx:pt>
          <cx:pt idx="2168">198.93548387096774</cx:pt>
          <cx:pt idx="2169">198.16129032258064</cx:pt>
          <cx:pt idx="2170">199</cx:pt>
          <cx:pt idx="2171">198.93548387096774</cx:pt>
          <cx:pt idx="2172">198.93548387096774</cx:pt>
          <cx:pt idx="2173">199.09677419354838</cx:pt>
          <cx:pt idx="2174">198.64516129032259</cx:pt>
          <cx:pt idx="2175">198.93548387096774</cx:pt>
          <cx:pt idx="2176">198.80645161290323</cx:pt>
          <cx:pt idx="2177">199.51612903225808</cx:pt>
          <cx:pt idx="2178">199.38709677419354</cx:pt>
          <cx:pt idx="2179">198.45161290322579</cx:pt>
          <cx:pt idx="2180">197.74193548387098</cx:pt>
          <cx:pt idx="2181">197.64516129032259</cx:pt>
          <cx:pt idx="2182">197.67741935483872</cx:pt>
          <cx:pt idx="2183">197.48387096774192</cx:pt>
          <cx:pt idx="2184">197.41935483870967</cx:pt>
          <cx:pt idx="2185">197.09677419354838</cx:pt>
          <cx:pt idx="2186">196.70967741935485</cx:pt>
          <cx:pt idx="2187">195.93548387096774</cx:pt>
          <cx:pt idx="2188">196</cx:pt>
          <cx:pt idx="2189">196.80645161290323</cx:pt>
          <cx:pt idx="2190">197.41935483870967</cx:pt>
          <cx:pt idx="2191">197.19354838709677</cx:pt>
          <cx:pt idx="2192">196.61290322580646</cx:pt>
          <cx:pt idx="2193">197.12903225806451</cx:pt>
          <cx:pt idx="2194">196.54838709677421</cx:pt>
          <cx:pt idx="2195">196.61290322580646</cx:pt>
          <cx:pt idx="2196">196.06451612903226</cx:pt>
          <cx:pt idx="2197">196.41935483870967</cx:pt>
          <cx:pt idx="2198">196.64516129032259</cx:pt>
          <cx:pt idx="2199">196.38709677419354</cx:pt>
          <cx:pt idx="2200">196.90322580645162</cx:pt>
          <cx:pt idx="2201">196.64516129032259</cx:pt>
          <cx:pt idx="2202">197</cx:pt>
          <cx:pt idx="2203">196.93548387096774</cx:pt>
          <cx:pt idx="2204">197.67741935483872</cx:pt>
          <cx:pt idx="2205">197.35483870967741</cx:pt>
          <cx:pt idx="2206">198.25806451612902</cx:pt>
          <cx:pt idx="2207">199.45161290322579</cx:pt>
          <cx:pt idx="2208">198.7741935483871</cx:pt>
          <cx:pt idx="2209">198.45161290322579</cx:pt>
          <cx:pt idx="2210">199.32258064516128</cx:pt>
          <cx:pt idx="2211">200.25806451612902</cx:pt>
          <cx:pt idx="2212">200.41935483870967</cx:pt>
          <cx:pt idx="2213">200.41935483870967</cx:pt>
          <cx:pt idx="2214">201.03225806451613</cx:pt>
          <cx:pt idx="2215">200.87096774193549</cx:pt>
          <cx:pt idx="2216">200.93548387096774</cx:pt>
          <cx:pt idx="2217">201.45161290322579</cx:pt>
          <cx:pt idx="2218">202.38709677419354</cx:pt>
          <cx:pt idx="2219">203.32258064516128</cx:pt>
          <cx:pt idx="2220">203.16129032258064</cx:pt>
          <cx:pt idx="2221">203.06451612903226</cx:pt>
          <cx:pt idx="2222">203.32258064516128</cx:pt>
          <cx:pt idx="2223">204.58064516129033</cx:pt>
          <cx:pt idx="2224">204.61290322580646</cx:pt>
          <cx:pt idx="2225">206.51612903225808</cx:pt>
          <cx:pt idx="2226">208.48387096774192</cx:pt>
          <cx:pt idx="2227">209.74193548387098</cx:pt>
          <cx:pt idx="2228">210.45161290322579</cx:pt>
          <cx:pt idx="2229">212.2258064516129</cx:pt>
          <cx:pt idx="2230">214.2258064516129</cx:pt>
          <cx:pt idx="2231">214.70967741935485</cx:pt>
          <cx:pt idx="2232">216.06451612903226</cx:pt>
          <cx:pt idx="2233">216.70967741935485</cx:pt>
          <cx:pt idx="2234">218.16129032258064</cx:pt>
          <cx:pt idx="2235">219.32258064516128</cx:pt>
          <cx:pt idx="2236">220.2258064516129</cx:pt>
          <cx:pt idx="2237">221.09677419354838</cx:pt>
          <cx:pt idx="2238">222</cx:pt>
          <cx:pt idx="2239">223.54838709677421</cx:pt>
          <cx:pt idx="2240">225.09677419354838</cx:pt>
          <cx:pt idx="2241">225.48387096774192</cx:pt>
          <cx:pt idx="2242">226.45161290322579</cx:pt>
          <cx:pt idx="2243">227.38709677419354</cx:pt>
          <cx:pt idx="2244">229.03225806451613</cx:pt>
          <cx:pt idx="2245">229.70967741935485</cx:pt>
          <cx:pt idx="2246">230.58064516129033</cx:pt>
          <cx:pt idx="2247">231.74193548387098</cx:pt>
          <cx:pt idx="2248">232.45161290322579</cx:pt>
          <cx:pt idx="2249">232.87096774193549</cx:pt>
          <cx:pt idx="2250">232.96774193548387</cx:pt>
          <cx:pt idx="2251">233.87096774193549</cx:pt>
          <cx:pt idx="2252">234.25806451612902</cx:pt>
          <cx:pt idx="2253">96.451612903225808</cx:pt>
          <cx:pt idx="2254">103.45161290322581</cx:pt>
          <cx:pt idx="2255">109.61290322580645</cx:pt>
          <cx:pt idx="2256">116.54838709677419</cx:pt>
          <cx:pt idx="2257">123.41935483870968</cx:pt>
          <cx:pt idx="2258">129.87096774193549</cx:pt>
          <cx:pt idx="2259">136.2258064516129</cx:pt>
          <cx:pt idx="2260">142.67741935483872</cx:pt>
          <cx:pt idx="2261">148.61290322580646</cx:pt>
          <cx:pt idx="2262">154.54838709677421</cx:pt>
          <cx:pt idx="2263">160.80645161290323</cx:pt>
          <cx:pt idx="2264">166.96774193548387</cx:pt>
          <cx:pt idx="2265">174.06451612903226</cx:pt>
          <cx:pt idx="2266">180.74193548387098</cx:pt>
          <cx:pt idx="2267">187.64516129032259</cx:pt>
          <cx:pt idx="2268">194.38709677419354</cx:pt>
          <cx:pt idx="2269">200.48387096774192</cx:pt>
          <cx:pt idx="2270">201.32258064516128</cx:pt>
          <cx:pt idx="2271">202.25806451612902</cx:pt>
          <cx:pt idx="2272">202.35483870967741</cx:pt>
          <cx:pt idx="2273">201.7741935483871</cx:pt>
          <cx:pt idx="2274">200.61290322580646</cx:pt>
          <cx:pt idx="2275">200.74193548387098</cx:pt>
          <cx:pt idx="2276">201.35483870967741</cx:pt>
          <cx:pt idx="2277">201.32258064516128</cx:pt>
          <cx:pt idx="2278">202</cx:pt>
          <cx:pt idx="2279">201.12903225806451</cx:pt>
          <cx:pt idx="2280">200.25806451612902</cx:pt>
          <cx:pt idx="2281">199.87096774193549</cx:pt>
          <cx:pt idx="2282">199.38709677419354</cx:pt>
          <cx:pt idx="2283">199.54838709677421</cx:pt>
          <cx:pt idx="2284">199.12903225806451</cx:pt>
          <cx:pt idx="2285">198.09677419354838</cx:pt>
          <cx:pt idx="2286">198.83870967741936</cx:pt>
          <cx:pt idx="2287">198.87096774193549</cx:pt>
          <cx:pt idx="2288">197.93548387096774</cx:pt>
          <cx:pt idx="2289">197.29032258064515</cx:pt>
          <cx:pt idx="2290">197.93548387096774</cx:pt>
          <cx:pt idx="2291">197.64516129032259</cx:pt>
          <cx:pt idx="2292">198.32258064516128</cx:pt>
          <cx:pt idx="2293">199.29032258064515</cx:pt>
          <cx:pt idx="2294">200.06451612903226</cx:pt>
          <cx:pt idx="2295">199.90322580645162</cx:pt>
          <cx:pt idx="2296">199.67741935483872</cx:pt>
          <cx:pt idx="2297">199.16129032258064</cx:pt>
          <cx:pt idx="2298">199.09677419354838</cx:pt>
          <cx:pt idx="2299">198.87096774193549</cx:pt>
          <cx:pt idx="2300">199.61290322580646</cx:pt>
          <cx:pt idx="2301">198.54838709677421</cx:pt>
          <cx:pt idx="2302">198.70967741935485</cx:pt>
          <cx:pt idx="2303">198.06451612903226</cx:pt>
          <cx:pt idx="2304">199.06451612903226</cx:pt>
          <cx:pt idx="2305">200.03225806451613</cx:pt>
          <cx:pt idx="2306">200.03225806451613</cx:pt>
          <cx:pt idx="2307">200.03225806451613</cx:pt>
          <cx:pt idx="2308">199.58064516129033</cx:pt>
          <cx:pt idx="2309">199.64516129032259</cx:pt>
          <cx:pt idx="2310">199.90322580645162</cx:pt>
          <cx:pt idx="2311">199.83870967741936</cx:pt>
          <cx:pt idx="2312">199.67741935483872</cx:pt>
          <cx:pt idx="2313">200.64516129032259</cx:pt>
          <cx:pt idx="2314">200.70967741935485</cx:pt>
          <cx:pt idx="2315">200.70967741935485</cx:pt>
          <cx:pt idx="2316">201.67741935483872</cx:pt>
          <cx:pt idx="2317">201.35483870967741</cx:pt>
          <cx:pt idx="2318">201.45161290322579</cx:pt>
          <cx:pt idx="2319">201.67741935483872</cx:pt>
          <cx:pt idx="2320">202.67741935483872</cx:pt>
          <cx:pt idx="2321">201.64516129032259</cx:pt>
          <cx:pt idx="2322">201.87096774193549</cx:pt>
          <cx:pt idx="2323">201.96774193548387</cx:pt>
          <cx:pt idx="2324">201.19354838709677</cx:pt>
          <cx:pt idx="2325">201.03225806451613</cx:pt>
          <cx:pt idx="2326">201.35483870967741</cx:pt>
          <cx:pt idx="2327">200.41935483870967</cx:pt>
          <cx:pt idx="2328">200.61290322580646</cx:pt>
          <cx:pt idx="2329">200.61290322580646</cx:pt>
          <cx:pt idx="2330">200.45161290322579</cx:pt>
          <cx:pt idx="2331">200.06451612903226</cx:pt>
          <cx:pt idx="2332">200.12903225806451</cx:pt>
          <cx:pt idx="2333">199.70967741935485</cx:pt>
          <cx:pt idx="2334">200.41935483870967</cx:pt>
          <cx:pt idx="2335">200.2258064516129</cx:pt>
          <cx:pt idx="2336">199.87096774193549</cx:pt>
          <cx:pt idx="2337">199.83870967741936</cx:pt>
          <cx:pt idx="2338">200</cx:pt>
          <cx:pt idx="2339">200.03225806451613</cx:pt>
          <cx:pt idx="2340">199.90322580645162</cx:pt>
          <cx:pt idx="2341">199.87096774193549</cx:pt>
          <cx:pt idx="2342">200.16129032258064</cx:pt>
          <cx:pt idx="2343">200.58064516129033</cx:pt>
          <cx:pt idx="2344">200.38709677419354</cx:pt>
          <cx:pt idx="2345">200.96774193548387</cx:pt>
          <cx:pt idx="2346">201.45161290322579</cx:pt>
          <cx:pt idx="2347">201.35483870967741</cx:pt>
          <cx:pt idx="2348">200.64516129032259</cx:pt>
          <cx:pt idx="2349">199.90322580645162</cx:pt>
          <cx:pt idx="2350">200.25806451612902</cx:pt>
          <cx:pt idx="2351">200.12903225806451</cx:pt>
          <cx:pt idx="2352">201.06451612903226</cx:pt>
          <cx:pt idx="2353">201.19354838709677</cx:pt>
          <cx:pt idx="2354">200.32258064516128</cx:pt>
          <cx:pt idx="2355">201.29032258064515</cx:pt>
          <cx:pt idx="2356">201.09677419354838</cx:pt>
          <cx:pt idx="2357">201.19354838709677</cx:pt>
          <cx:pt idx="2358">201.45161290322579</cx:pt>
          <cx:pt idx="2359">201.45161290322579</cx:pt>
          <cx:pt idx="2360">200.45161290322579</cx:pt>
          <cx:pt idx="2361">200.03225806451613</cx:pt>
          <cx:pt idx="2362">200.45161290322579</cx:pt>
          <cx:pt idx="2363">201.51612903225808</cx:pt>
          <cx:pt idx="2364">200.96774193548387</cx:pt>
          <cx:pt idx="2365">200.93548387096774</cx:pt>
          <cx:pt idx="2366">200.06451612903226</cx:pt>
          <cx:pt idx="2367">200.38709677419354</cx:pt>
          <cx:pt idx="2368">200.32258064516128</cx:pt>
          <cx:pt idx="2369">199.2258064516129</cx:pt>
          <cx:pt idx="2370">199.54838709677421</cx:pt>
          <cx:pt idx="2371">199.19999999999999</cx:pt>
          <cx:pt idx="2372">199.20689655172413</cx:pt>
          <cx:pt idx="2373">199.46428571428572</cx:pt>
          <cx:pt idx="2374">198.92592592592592</cx:pt>
          <cx:pt idx="2375">198.46153846153845</cx:pt>
          <cx:pt idx="2376">198.16</cx:pt>
          <cx:pt idx="2377">197.75</cx:pt>
          <cx:pt idx="2378">197.13043478260869</cx:pt>
          <cx:pt idx="2379">197.81818181818181</cx:pt>
          <cx:pt idx="2380">197.9047619047619</cx:pt>
          <cx:pt idx="2381">197.69999999999999</cx:pt>
          <cx:pt idx="2382">197.21052631578948</cx:pt>
          <cx:pt idx="2383">196.27777777777777</cx:pt>
          <cx:pt idx="2384">195.94117647058823</cx:pt>
          <cx:pt idx="2385">196.875</cx:pt>
          <cx:pt idx="2386">195.33333333333334</cx:pt>
          <cx:pt idx="2387">194.5</cx:pt>
          <cx:pt idx="2388">194.15384615384616</cx:pt>
          <cx:pt idx="2389">194.33333333333334</cx:pt>
          <cx:pt idx="2390">194.09090909090909</cx:pt>
          <cx:pt idx="2391">195.40000000000001</cx:pt>
          <cx:pt idx="2392">196.66666666666666</cx:pt>
          <cx:pt idx="2393">194.625</cx:pt>
          <cx:pt idx="2394">191.71428571428572</cx:pt>
          <cx:pt idx="2395">193</cx:pt>
          <cx:pt idx="2396">190</cx:pt>
          <cx:pt idx="2397">191.75</cx:pt>
          <cx:pt idx="2398">184.66666666666666</cx:pt>
          <cx:pt idx="2399">186</cx:pt>
          <cx:pt idx="2400">191</cx:pt>
        </cx:lvl>
      </cx:numDim>
    </cx:data>
    <cx:data id="4">
      <cx:numDim type="val">
        <cx:f>'DRT Rolling Mean'!$G$2:$G$1048576</cx:f>
        <cx:lvl ptCount="2401" formatCode="#,##0.00">
          <cx:pt idx="0">49.806451612903224</cx:pt>
          <cx:pt idx="1">49.516129032258064</cx:pt>
          <cx:pt idx="2">49.516129032258064</cx:pt>
          <cx:pt idx="3">49.225806451612904</cx:pt>
          <cx:pt idx="4">49.354838709677416</cx:pt>
          <cx:pt idx="5">49.354838709677416</cx:pt>
          <cx:pt idx="6">49.483870967741936</cx:pt>
          <cx:pt idx="7">49.322580645161288</cx:pt>
          <cx:pt idx="8">49.032258064516128</cx:pt>
          <cx:pt idx="9">49</cx:pt>
          <cx:pt idx="10">49.032258064516128</cx:pt>
          <cx:pt idx="11">49.161290322580648</cx:pt>
          <cx:pt idx="12">49.12903225806452</cx:pt>
          <cx:pt idx="13">49.225806451612904</cx:pt>
          <cx:pt idx="14">49.225806451612904</cx:pt>
          <cx:pt idx="15">49.29032258064516</cx:pt>
          <cx:pt idx="16">49.548387096774192</cx:pt>
          <cx:pt idx="17">49.612903225806448</cx:pt>
          <cx:pt idx="18">49.41935483870968</cx:pt>
          <cx:pt idx="19">49.451612903225808</cx:pt>
          <cx:pt idx="20">49.29032258064516</cx:pt>
          <cx:pt idx="21">49.29032258064516</cx:pt>
          <cx:pt idx="22">49.41935483870968</cx:pt>
          <cx:pt idx="23">49.58064516129032</cx:pt>
          <cx:pt idx="24">49.87096774193548</cx:pt>
          <cx:pt idx="25">50.064516129032256</cx:pt>
          <cx:pt idx="26">50.193548387096776</cx:pt>
          <cx:pt idx="27">50.12903225806452</cx:pt>
          <cx:pt idx="28">50</cx:pt>
          <cx:pt idx="29">50.29032258064516</cx:pt>
          <cx:pt idx="30">50.064516129032256</cx:pt>
          <cx:pt idx="31">49.903225806451616</cx:pt>
          <cx:pt idx="32">49.935483870967744</cx:pt>
          <cx:pt idx="33">50.032258064516128</cx:pt>
          <cx:pt idx="34">50.225806451612904</cx:pt>
          <cx:pt idx="35">50.161290322580648</cx:pt>
          <cx:pt idx="36">50.258064516129032</cx:pt>
          <cx:pt idx="37">50.12903225806452</cx:pt>
          <cx:pt idx="38">50.225806451612904</cx:pt>
          <cx:pt idx="39">50.258064516129032</cx:pt>
          <cx:pt idx="40">50.29032258064516</cx:pt>
          <cx:pt idx="41">50.548387096774192</cx:pt>
          <cx:pt idx="42">50.258064516129032</cx:pt>
          <cx:pt idx="43">50.064516129032256</cx:pt>
          <cx:pt idx="44">50.161290322580648</cx:pt>
          <cx:pt idx="45">50.096774193548384</cx:pt>
          <cx:pt idx="46">50.12903225806452</cx:pt>
          <cx:pt idx="47">50.032258064516128</cx:pt>
          <cx:pt idx="48">50.193548387096776</cx:pt>
          <cx:pt idx="49">50.387096774193552</cx:pt>
          <cx:pt idx="50">50.387096774193552</cx:pt>
          <cx:pt idx="51">50.387096774193552</cx:pt>
          <cx:pt idx="52">50.41935483870968</cx:pt>
          <cx:pt idx="53">50.225806451612904</cx:pt>
          <cx:pt idx="54">50.225806451612904</cx:pt>
          <cx:pt idx="55">50.225806451612904</cx:pt>
          <cx:pt idx="56">50.225806451612904</cx:pt>
          <cx:pt idx="57">49.903225806451616</cx:pt>
          <cx:pt idx="58">49.967741935483872</cx:pt>
          <cx:pt idx="59">50.12903225806452</cx:pt>
          <cx:pt idx="60">49.806451612903224</cx:pt>
          <cx:pt idx="61">49.935483870967744</cx:pt>
          <cx:pt idx="62">50.161290322580648</cx:pt>
          <cx:pt idx="63">50.451612903225808</cx:pt>
          <cx:pt idx="64">50.387096774193552</cx:pt>
          <cx:pt idx="65">50.225806451612904</cx:pt>
          <cx:pt idx="66">50.12903225806452</cx:pt>
          <cx:pt idx="67">50.193548387096776</cx:pt>
          <cx:pt idx="68">50.225806451612904</cx:pt>
          <cx:pt idx="69">50.258064516129032</cx:pt>
          <cx:pt idx="70">50.354838709677416</cx:pt>
          <cx:pt idx="71">50.354838709677416</cx:pt>
          <cx:pt idx="72">50.161290322580648</cx:pt>
          <cx:pt idx="73">50.161290322580648</cx:pt>
          <cx:pt idx="74">50.258064516129032</cx:pt>
          <cx:pt idx="75">50.258064516129032</cx:pt>
          <cx:pt idx="76">50.483870967741936</cx:pt>
          <cx:pt idx="77">50.29032258064516</cx:pt>
          <cx:pt idx="78">50.12903225806452</cx:pt>
          <cx:pt idx="79">50</cx:pt>
          <cx:pt idx="80">49.838709677419352</cx:pt>
          <cx:pt idx="81">49.903225806451616</cx:pt>
          <cx:pt idx="82">49.967741935483872</cx:pt>
          <cx:pt idx="83">49.967741935483872</cx:pt>
          <cx:pt idx="84">50.064516129032256</cx:pt>
          <cx:pt idx="85">50</cx:pt>
          <cx:pt idx="86">49.806451612903224</cx:pt>
          <cx:pt idx="87">49.645161290322584</cx:pt>
          <cx:pt idx="88">49.645161290322584</cx:pt>
          <cx:pt idx="89">49.677419354838712</cx:pt>
          <cx:pt idx="90">49.645161290322584</cx:pt>
          <cx:pt idx="91">49.935483870967744</cx:pt>
          <cx:pt idx="92">49.806451612903224</cx:pt>
          <cx:pt idx="93">49.483870967741936</cx:pt>
          <cx:pt idx="94">49.387096774193552</cx:pt>
          <cx:pt idx="95">49.612903225806448</cx:pt>
          <cx:pt idx="96">49.58064516129032</cx:pt>
          <cx:pt idx="97">49.516129032258064</cx:pt>
          <cx:pt idx="98">49.29032258064516</cx:pt>
          <cx:pt idx="99">49.516129032258064</cx:pt>
          <cx:pt idx="100">49.483870967741936</cx:pt>
          <cx:pt idx="101">49.612903225806448</cx:pt>
          <cx:pt idx="102">49.58064516129032</cx:pt>
          <cx:pt idx="103">49.774193548387096</cx:pt>
          <cx:pt idx="104">49.774193548387096</cx:pt>
          <cx:pt idx="105">49.612903225806448</cx:pt>
          <cx:pt idx="106">49.41935483870968</cx:pt>
          <cx:pt idx="107">49.161290322580648</cx:pt>
          <cx:pt idx="108">49.354838709677416</cx:pt>
          <cx:pt idx="109">49.548387096774192</cx:pt>
          <cx:pt idx="110">49.677419354838712</cx:pt>
          <cx:pt idx="111">49.612903225806448</cx:pt>
          <cx:pt idx="112">49.612903225806448</cx:pt>
          <cx:pt idx="113">49.645161290322584</cx:pt>
          <cx:pt idx="114">49.806451612903224</cx:pt>
          <cx:pt idx="115">49.806451612903224</cx:pt>
          <cx:pt idx="116">49.741935483870968</cx:pt>
          <cx:pt idx="117">49.774193548387096</cx:pt>
          <cx:pt idx="118">49.838709677419352</cx:pt>
          <cx:pt idx="119">49.838709677419352</cx:pt>
          <cx:pt idx="120">49.838709677419352</cx:pt>
          <cx:pt idx="121">49.612903225806448</cx:pt>
          <cx:pt idx="122">49.354838709677416</cx:pt>
          <cx:pt idx="123">49.258064516129032</cx:pt>
          <cx:pt idx="124">49.516129032258064</cx:pt>
          <cx:pt idx="125">49.516129032258064</cx:pt>
          <cx:pt idx="126">49.29032258064516</cx:pt>
          <cx:pt idx="127">49.258064516129032</cx:pt>
          <cx:pt idx="128">49.322580645161288</cx:pt>
          <cx:pt idx="129">49.322580645161288</cx:pt>
          <cx:pt idx="130">49</cx:pt>
          <cx:pt idx="131">48.903225806451616</cx:pt>
          <cx:pt idx="132">48.903225806451616</cx:pt>
          <cx:pt idx="133">48.677419354838712</cx:pt>
          <cx:pt idx="134">48.548387096774192</cx:pt>
          <cx:pt idx="135">48.548387096774192</cx:pt>
          <cx:pt idx="136">48.612903225806448</cx:pt>
          <cx:pt idx="137">48.774193548387096</cx:pt>
          <cx:pt idx="138">48.967741935483872</cx:pt>
          <cx:pt idx="139">48.645161290322584</cx:pt>
          <cx:pt idx="140">48.516129032258064</cx:pt>
          <cx:pt idx="141">48.354838709677416</cx:pt>
          <cx:pt idx="142">48.322580645161288</cx:pt>
          <cx:pt idx="143">48.322580645161288</cx:pt>
          <cx:pt idx="144">48.451612903225808</cx:pt>
          <cx:pt idx="145">48.322580645161288</cx:pt>
          <cx:pt idx="146">48.41935483870968</cx:pt>
          <cx:pt idx="147">48.612903225806448</cx:pt>
          <cx:pt idx="148">48.451612903225808</cx:pt>
          <cx:pt idx="149">48.322580645161288</cx:pt>
          <cx:pt idx="150">48.451612903225808</cx:pt>
          <cx:pt idx="151">48.516129032258064</cx:pt>
          <cx:pt idx="152">48.548387096774192</cx:pt>
          <cx:pt idx="153">48.58064516129032</cx:pt>
          <cx:pt idx="154">48.645161290322584</cx:pt>
          <cx:pt idx="155">48.677419354838712</cx:pt>
          <cx:pt idx="156">48.483870967741936</cx:pt>
          <cx:pt idx="157">48.645161290322584</cx:pt>
          <cx:pt idx="158">48.935483870967744</cx:pt>
          <cx:pt idx="159">48.87096774193548</cx:pt>
          <cx:pt idx="160">49.032258064516128</cx:pt>
          <cx:pt idx="161">49.258064516129032</cx:pt>
          <cx:pt idx="162">49.548387096774192</cx:pt>
          <cx:pt idx="163">49.612903225806448</cx:pt>
          <cx:pt idx="164">49.70967741935484</cx:pt>
          <cx:pt idx="165">49.70967741935484</cx:pt>
          <cx:pt idx="166">49.87096774193548</cx:pt>
          <cx:pt idx="167">49.967741935483872</cx:pt>
          <cx:pt idx="168">50.032258064516128</cx:pt>
          <cx:pt idx="169">49.967741935483872</cx:pt>
          <cx:pt idx="170">50.096774193548384</cx:pt>
          <cx:pt idx="171">50.161290322580648</cx:pt>
          <cx:pt idx="172">50.12903225806452</cx:pt>
          <cx:pt idx="173">50.064516129032256</cx:pt>
          <cx:pt idx="174">49.935483870967744</cx:pt>
          <cx:pt idx="175">49.741935483870968</cx:pt>
          <cx:pt idx="176">49.967741935483872</cx:pt>
          <cx:pt idx="177">49.774193548387096</cx:pt>
          <cx:pt idx="178">49.483870967741936</cx:pt>
          <cx:pt idx="179">49.645161290322584</cx:pt>
          <cx:pt idx="180">49.87096774193548</cx:pt>
          <cx:pt idx="181">50.032258064516128</cx:pt>
          <cx:pt idx="182">49.903225806451616</cx:pt>
          <cx:pt idx="183">50.032258064516128</cx:pt>
          <cx:pt idx="184">50.29032258064516</cx:pt>
          <cx:pt idx="185">50.322580645161288</cx:pt>
          <cx:pt idx="186">50.161290322580648</cx:pt>
          <cx:pt idx="187">50.225806451612904</cx:pt>
          <cx:pt idx="188">50.096774193548384</cx:pt>
          <cx:pt idx="189">49.87096774193548</cx:pt>
          <cx:pt idx="190">50.096774193548384</cx:pt>
          <cx:pt idx="191">49.903225806451616</cx:pt>
          <cx:pt idx="192">49.838709677419352</cx:pt>
          <cx:pt idx="193">49.58064516129032</cx:pt>
          <cx:pt idx="194">49.258064516129032</cx:pt>
          <cx:pt idx="195">49.354838709677416</cx:pt>
          <cx:pt idx="196">49.322580645161288</cx:pt>
          <cx:pt idx="197">49.161290322580648</cx:pt>
          <cx:pt idx="198">49.322580645161288</cx:pt>
          <cx:pt idx="199">49.12903225806452</cx:pt>
          <cx:pt idx="200">49.161290322580648</cx:pt>
          <cx:pt idx="201">49.354838709677416</cx:pt>
          <cx:pt idx="202">49.483870967741936</cx:pt>
          <cx:pt idx="203">49.451612903225808</cx:pt>
          <cx:pt idx="204">49.58064516129032</cx:pt>
          <cx:pt idx="205">49.41935483870968</cx:pt>
          <cx:pt idx="206">49.354838709677416</cx:pt>
          <cx:pt idx="207">49.096774193548384</cx:pt>
          <cx:pt idx="208">49.258064516129032</cx:pt>
          <cx:pt idx="209">49.322580645161288</cx:pt>
          <cx:pt idx="210">49.161290322580648</cx:pt>
          <cx:pt idx="211">49.193548387096776</cx:pt>
          <cx:pt idx="212">48.903225806451616</cx:pt>
          <cx:pt idx="213">49.161290322580648</cx:pt>
          <cx:pt idx="214">49.29032258064516</cx:pt>
          <cx:pt idx="215">49.193548387096776</cx:pt>
          <cx:pt idx="216">49.387096774193552</cx:pt>
          <cx:pt idx="217">49.516129032258064</cx:pt>
          <cx:pt idx="218">49.70967741935484</cx:pt>
          <cx:pt idx="219">49.87096774193548</cx:pt>
          <cx:pt idx="220">50.064516129032256</cx:pt>
          <cx:pt idx="221">50.032258064516128</cx:pt>
          <cx:pt idx="222">50.193548387096776</cx:pt>
          <cx:pt idx="223">50.322580645161288</cx:pt>
          <cx:pt idx="224">50.58064516129032</cx:pt>
          <cx:pt idx="225">50.903225806451616</cx:pt>
          <cx:pt idx="226">51.032258064516128</cx:pt>
          <cx:pt idx="227">51.161290322580648</cx:pt>
          <cx:pt idx="228">51.387096774193552</cx:pt>
          <cx:pt idx="229">51.387096774193552</cx:pt>
          <cx:pt idx="230">51.677419354838712</cx:pt>
          <cx:pt idx="231">51.741935483870968</cx:pt>
          <cx:pt idx="232">51.741935483870968</cx:pt>
          <cx:pt idx="233">51.774193548387096</cx:pt>
          <cx:pt idx="234">51.935483870967744</cx:pt>
          <cx:pt idx="235">52.096774193548384</cx:pt>
          <cx:pt idx="236">52.354838709677416</cx:pt>
          <cx:pt idx="237">52.612903225806448</cx:pt>
          <cx:pt idx="238">52.903225806451616</cx:pt>
          <cx:pt idx="239">52.967741935483872</cx:pt>
          <cx:pt idx="240">53.161290322580648</cx:pt>
          <cx:pt idx="241">53.451612903225808</cx:pt>
          <cx:pt idx="242">53.354838709677416</cx:pt>
          <cx:pt idx="243">53.612903225806448</cx:pt>
          <cx:pt idx="244">53.612903225806448</cx:pt>
          <cx:pt idx="245">53.58064516129032</cx:pt>
          <cx:pt idx="246">53.677419354838712</cx:pt>
          <cx:pt idx="247">53.70967741935484</cx:pt>
          <cx:pt idx="248">53.677419354838712</cx:pt>
          <cx:pt idx="249">53.677419354838712</cx:pt>
          <cx:pt idx="250">53.645161290322584</cx:pt>
          <cx:pt idx="251">53.677419354838712</cx:pt>
          <cx:pt idx="252">53.70967741935484</cx:pt>
          <cx:pt idx="253">53.774193548387096</cx:pt>
          <cx:pt idx="254">53.70967741935484</cx:pt>
          <cx:pt idx="255">53.677419354838712</cx:pt>
          <cx:pt idx="256">53.58064516129032</cx:pt>
          <cx:pt idx="257">53.41935483870968</cx:pt>
          <cx:pt idx="258">53.29032258064516</cx:pt>
          <cx:pt idx="259">53.354838709677416</cx:pt>
          <cx:pt idx="260">53.193548387096776</cx:pt>
          <cx:pt idx="261">53.161290322580648</cx:pt>
          <cx:pt idx="262">53.161290322580648</cx:pt>
          <cx:pt idx="263">53.12903225806452</cx:pt>
          <cx:pt idx="264">53.161290322580648</cx:pt>
          <cx:pt idx="265">53</cx:pt>
          <cx:pt idx="266">53.032258064516128</cx:pt>
          <cx:pt idx="267">52.935483870967744</cx:pt>
          <cx:pt idx="268">52.70967741935484</cx:pt>
          <cx:pt idx="269">52.41935483870968</cx:pt>
          <cx:pt idx="270">52.161290322580648</cx:pt>
          <cx:pt idx="271">51.967741935483872</cx:pt>
          <cx:pt idx="272">51.935483870967744</cx:pt>
          <cx:pt idx="273">51.903225806451616</cx:pt>
          <cx:pt idx="274">51.935483870967744</cx:pt>
          <cx:pt idx="275">51.87096774193548</cx:pt>
          <cx:pt idx="276">51.87096774193548</cx:pt>
          <cx:pt idx="277">51.612903225806448</cx:pt>
          <cx:pt idx="278">51.58064516129032</cx:pt>
          <cx:pt idx="279">51.58064516129032</cx:pt>
          <cx:pt idx="280">51.451612903225808</cx:pt>
          <cx:pt idx="281">51.322580645161288</cx:pt>
          <cx:pt idx="282">51.225806451612904</cx:pt>
          <cx:pt idx="283">51.29032258064516</cx:pt>
          <cx:pt idx="284">51.258064516129032</cx:pt>
          <cx:pt idx="285">51.193548387096776</cx:pt>
          <cx:pt idx="286">51</cx:pt>
          <cx:pt idx="287">51.096774193548384</cx:pt>
          <cx:pt idx="288">50.967741935483872</cx:pt>
          <cx:pt idx="289">51.064516129032256</cx:pt>
          <cx:pt idx="290">50.806451612903224</cx:pt>
          <cx:pt idx="291">50.87096774193548</cx:pt>
          <cx:pt idx="292">50.806451612903224</cx:pt>
          <cx:pt idx="293">50.774193548387096</cx:pt>
          <cx:pt idx="294">50.516129032258064</cx:pt>
          <cx:pt idx="295">50.483870967741936</cx:pt>
          <cx:pt idx="296">50.677419354838712</cx:pt>
          <cx:pt idx="297">50.645161290322584</cx:pt>
          <cx:pt idx="298">50.677419354838712</cx:pt>
          <cx:pt idx="299">50.806451612903224</cx:pt>
          <cx:pt idx="300">51.096774193548384</cx:pt>
          <cx:pt idx="301">51.161290322580648</cx:pt>
          <cx:pt idx="302">51.29032258064516</cx:pt>
          <cx:pt idx="303">51.354838709677416</cx:pt>
          <cx:pt idx="304">51.483870967741936</cx:pt>
          <cx:pt idx="305">51.516129032258064</cx:pt>
          <cx:pt idx="306">51.29032258064516</cx:pt>
          <cx:pt idx="307">51.193548387096776</cx:pt>
          <cx:pt idx="308">51.41935483870968</cx:pt>
          <cx:pt idx="309">51.41935483870968</cx:pt>
          <cx:pt idx="310">51.193548387096776</cx:pt>
          <cx:pt idx="311">51.12903225806452</cx:pt>
          <cx:pt idx="312">51.354838709677416</cx:pt>
          <cx:pt idx="313">51.225806451612904</cx:pt>
          <cx:pt idx="314">50.935483870967744</cx:pt>
          <cx:pt idx="315">51</cx:pt>
          <cx:pt idx="316">51.032258064516128</cx:pt>
          <cx:pt idx="317">50.935483870967744</cx:pt>
          <cx:pt idx="318">50.838709677419352</cx:pt>
          <cx:pt idx="319">50.806451612903224</cx:pt>
          <cx:pt idx="320">50.774193548387096</cx:pt>
          <cx:pt idx="321">50.935483870967744</cx:pt>
          <cx:pt idx="322">50.967741935483872</cx:pt>
          <cx:pt idx="323">50.774193548387096</cx:pt>
          <cx:pt idx="324">50.645161290322584</cx:pt>
          <cx:pt idx="325">50.677419354838712</cx:pt>
          <cx:pt idx="326">50.387096774193552</cx:pt>
          <cx:pt idx="327">50.193548387096776</cx:pt>
          <cx:pt idx="328">49.903225806451616</cx:pt>
          <cx:pt idx="329">49.677419354838712</cx:pt>
          <cx:pt idx="330">49.645161290322584</cx:pt>
          <cx:pt idx="331">49.387096774193552</cx:pt>
          <cx:pt idx="332">49.516129032258064</cx:pt>
          <cx:pt idx="333">49.483870967741936</cx:pt>
          <cx:pt idx="334">49.451612903225808</cx:pt>
          <cx:pt idx="335">49.258064516129032</cx:pt>
          <cx:pt idx="336">48.935483870967744</cx:pt>
          <cx:pt idx="337">49.225806451612904</cx:pt>
          <cx:pt idx="338">49.354838709677416</cx:pt>
          <cx:pt idx="339">49.12903225806452</cx:pt>
          <cx:pt idx="340">49.12903225806452</cx:pt>
          <cx:pt idx="341">49.354838709677416</cx:pt>
          <cx:pt idx="342">49.322580645161288</cx:pt>
          <cx:pt idx="343">49.225806451612904</cx:pt>
          <cx:pt idx="344">49.193548387096776</cx:pt>
          <cx:pt idx="345">49.387096774193552</cx:pt>
          <cx:pt idx="346">49.225806451612904</cx:pt>
          <cx:pt idx="347">49.193548387096776</cx:pt>
          <cx:pt idx="348">49.258064516129032</cx:pt>
          <cx:pt idx="349">49.193548387096776</cx:pt>
          <cx:pt idx="350">49.193548387096776</cx:pt>
          <cx:pt idx="351">49.064516129032256</cx:pt>
          <cx:pt idx="352">49.032258064516128</cx:pt>
          <cx:pt idx="353">48.87096774193548</cx:pt>
          <cx:pt idx="354">49</cx:pt>
          <cx:pt idx="355">49</cx:pt>
          <cx:pt idx="356">48.967741935483872</cx:pt>
          <cx:pt idx="357">49.225806451612904</cx:pt>
          <cx:pt idx="358">49.483870967741936</cx:pt>
          <cx:pt idx="359">49.741935483870968</cx:pt>
          <cx:pt idx="360">49.935483870967744</cx:pt>
          <cx:pt idx="361">50.032258064516128</cx:pt>
          <cx:pt idx="362">50.225806451612904</cx:pt>
          <cx:pt idx="363">50.064516129032256</cx:pt>
          <cx:pt idx="364">49.903225806451616</cx:pt>
          <cx:pt idx="365">49.70967741935484</cx:pt>
          <cx:pt idx="366">49.677419354838712</cx:pt>
          <cx:pt idx="367">49.838709677419352</cx:pt>
          <cx:pt idx="368">49.516129032258064</cx:pt>
          <cx:pt idx="369">49.387096774193552</cx:pt>
          <cx:pt idx="370">49.322580645161288</cx:pt>
          <cx:pt idx="371">49.064516129032256</cx:pt>
          <cx:pt idx="372">49</cx:pt>
          <cx:pt idx="373">49.193548387096776</cx:pt>
          <cx:pt idx="374">48.967741935483872</cx:pt>
          <cx:pt idx="375">48.935483870967744</cx:pt>
          <cx:pt idx="376">48.87096774193548</cx:pt>
          <cx:pt idx="377">48.903225806451616</cx:pt>
          <cx:pt idx="378">49.032258064516128</cx:pt>
          <cx:pt idx="379">49.064516129032256</cx:pt>
          <cx:pt idx="380">49.225806451612904</cx:pt>
          <cx:pt idx="381">49.225806451612904</cx:pt>
          <cx:pt idx="382">49.193548387096776</cx:pt>
          <cx:pt idx="383">49.322580645161288</cx:pt>
          <cx:pt idx="384">49.258064516129032</cx:pt>
          <cx:pt idx="385">49.161290322580648</cx:pt>
          <cx:pt idx="386">49.161290322580648</cx:pt>
          <cx:pt idx="387">49.451612903225808</cx:pt>
          <cx:pt idx="388">49.354838709677416</cx:pt>
          <cx:pt idx="389">49.096774193548384</cx:pt>
          <cx:pt idx="390">48.87096774193548</cx:pt>
          <cx:pt idx="391">48.741935483870968</cx:pt>
          <cx:pt idx="392">48.548387096774192</cx:pt>
          <cx:pt idx="393">48.354838709677416</cx:pt>
          <cx:pt idx="394">48.645161290322584</cx:pt>
          <cx:pt idx="395">48.935483870967744</cx:pt>
          <cx:pt idx="396">49.032258064516128</cx:pt>
          <cx:pt idx="397">49</cx:pt>
          <cx:pt idx="398">48.87096774193548</cx:pt>
          <cx:pt idx="399">49.193548387096776</cx:pt>
          <cx:pt idx="400">49.032258064516128</cx:pt>
          <cx:pt idx="401">49.29032258064516</cx:pt>
          <cx:pt idx="402">49.29032258064516</cx:pt>
          <cx:pt idx="403">49.193548387096776</cx:pt>
          <cx:pt idx="404">49.096774193548384</cx:pt>
          <cx:pt idx="405">49.225806451612904</cx:pt>
          <cx:pt idx="406">49.516129032258064</cx:pt>
          <cx:pt idx="407">49.677419354838712</cx:pt>
          <cx:pt idx="408">49.516129032258064</cx:pt>
          <cx:pt idx="409">49.483870967741936</cx:pt>
          <cx:pt idx="410">49.41935483870968</cx:pt>
          <cx:pt idx="411">49.225806451612904</cx:pt>
          <cx:pt idx="412">49.387096774193552</cx:pt>
          <cx:pt idx="413">49.483870967741936</cx:pt>
          <cx:pt idx="414">49.354838709677416</cx:pt>
          <cx:pt idx="415">49.387096774193552</cx:pt>
          <cx:pt idx="416">49.612903225806448</cx:pt>
          <cx:pt idx="417">49.741935483870968</cx:pt>
          <cx:pt idx="418">49.58064516129032</cx:pt>
          <cx:pt idx="419">49.677419354838712</cx:pt>
          <cx:pt idx="420">49.838709677419352</cx:pt>
          <cx:pt idx="421">50</cx:pt>
          <cx:pt idx="422">50.096774193548384</cx:pt>
          <cx:pt idx="423">50.161290322580648</cx:pt>
          <cx:pt idx="424">50.161290322580648</cx:pt>
          <cx:pt idx="425">49.838709677419352</cx:pt>
          <cx:pt idx="426">49.806451612903224</cx:pt>
          <cx:pt idx="427">49.87096774193548</cx:pt>
          <cx:pt idx="428">49.806451612903224</cx:pt>
          <cx:pt idx="429">50.032258064516128</cx:pt>
          <cx:pt idx="430">49.806451612903224</cx:pt>
          <cx:pt idx="431">50.064516129032256</cx:pt>
          <cx:pt idx="432">49.967741935483872</cx:pt>
          <cx:pt idx="433">50.032258064516128</cx:pt>
          <cx:pt idx="434">50.29032258064516</cx:pt>
          <cx:pt idx="435">50.322580645161288</cx:pt>
          <cx:pt idx="436">50.451612903225808</cx:pt>
          <cx:pt idx="437">50.483870967741936</cx:pt>
          <cx:pt idx="438">50.225806451612904</cx:pt>
          <cx:pt idx="439">50.516129032258064</cx:pt>
          <cx:pt idx="440">50.483870967741936</cx:pt>
          <cx:pt idx="441">50.70967741935484</cx:pt>
          <cx:pt idx="442">50.806451612903224</cx:pt>
          <cx:pt idx="443">50.838709677419352</cx:pt>
          <cx:pt idx="444">51.032258064516128</cx:pt>
          <cx:pt idx="445">51.096774193548384</cx:pt>
          <cx:pt idx="446">51.225806451612904</cx:pt>
          <cx:pt idx="447">51.225806451612904</cx:pt>
          <cx:pt idx="448">51.161290322580648</cx:pt>
          <cx:pt idx="449">51.12903225806452</cx:pt>
          <cx:pt idx="450">50.935483870967744</cx:pt>
          <cx:pt idx="451">50.87096774193548</cx:pt>
          <cx:pt idx="452">50.741935483870968</cx:pt>
          <cx:pt idx="453">50.87096774193548</cx:pt>
          <cx:pt idx="454">51.032258064516128</cx:pt>
          <cx:pt idx="455">51.193548387096776</cx:pt>
          <cx:pt idx="456">51.225806451612904</cx:pt>
          <cx:pt idx="457">51</cx:pt>
          <cx:pt idx="458">50.87096774193548</cx:pt>
          <cx:pt idx="459">50.967741935483872</cx:pt>
          <cx:pt idx="460">50.806451612903224</cx:pt>
          <cx:pt idx="461">50.935483870967744</cx:pt>
          <cx:pt idx="462">51</cx:pt>
          <cx:pt idx="463">51</cx:pt>
          <cx:pt idx="464">50.967741935483872</cx:pt>
          <cx:pt idx="465">50.87096774193548</cx:pt>
          <cx:pt idx="466">50.741935483870968</cx:pt>
          <cx:pt idx="467">50.806451612903224</cx:pt>
          <cx:pt idx="468">50.548387096774192</cx:pt>
          <cx:pt idx="469">50.645161290322584</cx:pt>
          <cx:pt idx="470">50.354838709677416</cx:pt>
          <cx:pt idx="471">50.12903225806452</cx:pt>
          <cx:pt idx="472">50.161290322580648</cx:pt>
          <cx:pt idx="473">50.12903225806452</cx:pt>
          <cx:pt idx="474">50</cx:pt>
          <cx:pt idx="475">49.935483870967744</cx:pt>
          <cx:pt idx="476">49.838709677419352</cx:pt>
          <cx:pt idx="477">49.70967741935484</cx:pt>
          <cx:pt idx="478">49.645161290322584</cx:pt>
          <cx:pt idx="479">49.516129032258064</cx:pt>
          <cx:pt idx="480">49.58064516129032</cx:pt>
          <cx:pt idx="481">49.516129032258064</cx:pt>
          <cx:pt idx="482">49.516129032258064</cx:pt>
          <cx:pt idx="483">49.58064516129032</cx:pt>
          <cx:pt idx="484">49.548387096774192</cx:pt>
          <cx:pt idx="485">49.451612903225808</cx:pt>
          <cx:pt idx="486">49.41935483870968</cx:pt>
          <cx:pt idx="487">49.58064516129032</cx:pt>
          <cx:pt idx="488">49.677419354838712</cx:pt>
          <cx:pt idx="489">49.87096774193548</cx:pt>
          <cx:pt idx="490">49.903225806451616</cx:pt>
          <cx:pt idx="491">50.064516129032256</cx:pt>
          <cx:pt idx="492">49.838709677419352</cx:pt>
          <cx:pt idx="493">49.612903225806448</cx:pt>
          <cx:pt idx="494">49.451612903225808</cx:pt>
          <cx:pt idx="495">49.451612903225808</cx:pt>
          <cx:pt idx="496">49.548387096774192</cx:pt>
          <cx:pt idx="497">49.645161290322584</cx:pt>
          <cx:pt idx="498">49.548387096774192</cx:pt>
          <cx:pt idx="499">49.548387096774192</cx:pt>
          <cx:pt idx="500">49.483870967741936</cx:pt>
          <cx:pt idx="501">49.451612903225808</cx:pt>
          <cx:pt idx="502">49.483870967741936</cx:pt>
          <cx:pt idx="503">49.322580645161288</cx:pt>
          <cx:pt idx="504">49.387096774193552</cx:pt>
          <cx:pt idx="505">49.451612903225808</cx:pt>
          <cx:pt idx="506">49.354838709677416</cx:pt>
          <cx:pt idx="507">49.258064516129032</cx:pt>
          <cx:pt idx="508">49.387096774193552</cx:pt>
          <cx:pt idx="509">49.258064516129032</cx:pt>
          <cx:pt idx="510">49.29032258064516</cx:pt>
          <cx:pt idx="511">49.29032258064516</cx:pt>
          <cx:pt idx="512">49.516129032258064</cx:pt>
          <cx:pt idx="513">49.58064516129032</cx:pt>
          <cx:pt idx="514">49.548387096774192</cx:pt>
          <cx:pt idx="515">49.612903225806448</cx:pt>
          <cx:pt idx="516">49.516129032258064</cx:pt>
          <cx:pt idx="517">49.354838709677416</cx:pt>
          <cx:pt idx="518">49.258064516129032</cx:pt>
          <cx:pt idx="519">49.29032258064516</cx:pt>
          <cx:pt idx="520">49.193548387096776</cx:pt>
          <cx:pt idx="521">49.354838709677416</cx:pt>
          <cx:pt idx="522">49.387096774193552</cx:pt>
          <cx:pt idx="523">49.483870967741936</cx:pt>
          <cx:pt idx="524">49.387096774193552</cx:pt>
          <cx:pt idx="525">49.70967741935484</cx:pt>
          <cx:pt idx="526">49.677419354838712</cx:pt>
          <cx:pt idx="527">49.387096774193552</cx:pt>
          <cx:pt idx="528">49.225806451612904</cx:pt>
          <cx:pt idx="529">49.29032258064516</cx:pt>
          <cx:pt idx="530">49.225806451612904</cx:pt>
          <cx:pt idx="531">49.258064516129032</cx:pt>
          <cx:pt idx="532">49.387096774193552</cx:pt>
          <cx:pt idx="533">49.58064516129032</cx:pt>
          <cx:pt idx="534">49.58064516129032</cx:pt>
          <cx:pt idx="535">49.612903225806448</cx:pt>
          <cx:pt idx="536">49.548387096774192</cx:pt>
          <cx:pt idx="537">49.677419354838712</cx:pt>
          <cx:pt idx="538">49.935483870967744</cx:pt>
          <cx:pt idx="539">49.741935483870968</cx:pt>
          <cx:pt idx="540">49.87096774193548</cx:pt>
          <cx:pt idx="541">50.096774193548384</cx:pt>
          <cx:pt idx="542">49.903225806451616</cx:pt>
          <cx:pt idx="543">49.838709677419352</cx:pt>
          <cx:pt idx="544">49.741935483870968</cx:pt>
          <cx:pt idx="545">49.70967741935484</cx:pt>
          <cx:pt idx="546">49.677419354838712</cx:pt>
          <cx:pt idx="547">49.645161290322584</cx:pt>
          <cx:pt idx="548">49.935483870967744</cx:pt>
          <cx:pt idx="549">49.838709677419352</cx:pt>
          <cx:pt idx="550">49.935483870967744</cx:pt>
          <cx:pt idx="551">49.741935483870968</cx:pt>
          <cx:pt idx="552">49.58064516129032</cx:pt>
          <cx:pt idx="553">49.612903225806448</cx:pt>
          <cx:pt idx="554">49.612903225806448</cx:pt>
          <cx:pt idx="555">49.741935483870968</cx:pt>
          <cx:pt idx="556">49.645161290322584</cx:pt>
          <cx:pt idx="557">49.741935483870968</cx:pt>
          <cx:pt idx="558">49.741935483870968</cx:pt>
          <cx:pt idx="559">49.903225806451616</cx:pt>
          <cx:pt idx="560">49.935483870967744</cx:pt>
          <cx:pt idx="561">50.12903225806452</cx:pt>
          <cx:pt idx="562">50.096774193548384</cx:pt>
          <cx:pt idx="563">50.064516129032256</cx:pt>
          <cx:pt idx="564">49.87096774193548</cx:pt>
          <cx:pt idx="565">49.838709677419352</cx:pt>
          <cx:pt idx="566">49.87096774193548</cx:pt>
          <cx:pt idx="567">49.967741935483872</cx:pt>
          <cx:pt idx="568">49.935483870967744</cx:pt>
          <cx:pt idx="569">49.838709677419352</cx:pt>
          <cx:pt idx="570">50.096774193548384</cx:pt>
          <cx:pt idx="571">50.12903225806452</cx:pt>
          <cx:pt idx="572">50.064516129032256</cx:pt>
          <cx:pt idx="573">50.161290322580648</cx:pt>
          <cx:pt idx="574">50.258064516129032</cx:pt>
          <cx:pt idx="575">50.225806451612904</cx:pt>
          <cx:pt idx="576">50.322580645161288</cx:pt>
          <cx:pt idx="577">50.096774193548384</cx:pt>
          <cx:pt idx="578">50.12903225806452</cx:pt>
          <cx:pt idx="579">49.935483870967744</cx:pt>
          <cx:pt idx="580">50.032258064516128</cx:pt>
          <cx:pt idx="581">49.87096774193548</cx:pt>
          <cx:pt idx="582">49.967741935483872</cx:pt>
          <cx:pt idx="583">50.032258064516128</cx:pt>
          <cx:pt idx="584">49.935483870967744</cx:pt>
          <cx:pt idx="585">49.87096774193548</cx:pt>
          <cx:pt idx="586">50</cx:pt>
          <cx:pt idx="587">50.032258064516128</cx:pt>
          <cx:pt idx="588">50.193548387096776</cx:pt>
          <cx:pt idx="589">50.354838709677416</cx:pt>
          <cx:pt idx="590">50.225806451612904</cx:pt>
          <cx:pt idx="591">50.161290322580648</cx:pt>
          <cx:pt idx="592">50</cx:pt>
          <cx:pt idx="593">50.096774193548384</cx:pt>
          <cx:pt idx="594">50.258064516129032</cx:pt>
          <cx:pt idx="595">50.387096774193552</cx:pt>
          <cx:pt idx="596">50.29032258064516</cx:pt>
          <cx:pt idx="597">50.29032258064516</cx:pt>
          <cx:pt idx="598">50.387096774193552</cx:pt>
          <cx:pt idx="599">50.161290322580648</cx:pt>
          <cx:pt idx="600">50.225806451612904</cx:pt>
          <cx:pt idx="601">50.096774193548384</cx:pt>
          <cx:pt idx="602">50.064516129032256</cx:pt>
          <cx:pt idx="603">50.064516129032256</cx:pt>
          <cx:pt idx="604">50.193548387096776</cx:pt>
          <cx:pt idx="605">50.258064516129032</cx:pt>
          <cx:pt idx="606">50.41935483870968</cx:pt>
          <cx:pt idx="607">50.483870967741936</cx:pt>
          <cx:pt idx="608">50.741935483870968</cx:pt>
          <cx:pt idx="609">50.903225806451616</cx:pt>
          <cx:pt idx="610">51.032258064516128</cx:pt>
          <cx:pt idx="611">51.161290322580648</cx:pt>
          <cx:pt idx="612">51.29032258064516</cx:pt>
          <cx:pt idx="613">51.387096774193552</cx:pt>
          <cx:pt idx="614">51.451612903225808</cx:pt>
          <cx:pt idx="615">51.548387096774192</cx:pt>
          <cx:pt idx="616">51.838709677419352</cx:pt>
          <cx:pt idx="617">51.806451612903224</cx:pt>
          <cx:pt idx="618">51.838709677419352</cx:pt>
          <cx:pt idx="619">51.838709677419352</cx:pt>
          <cx:pt idx="620">51.903225806451616</cx:pt>
          <cx:pt idx="621">52.096774193548384</cx:pt>
          <cx:pt idx="622">52.096774193548384</cx:pt>
          <cx:pt idx="623">52.354838709677416</cx:pt>
          <cx:pt idx="624">52.483870967741936</cx:pt>
          <cx:pt idx="625">52.483870967741936</cx:pt>
          <cx:pt idx="626">52.645161290322584</cx:pt>
          <cx:pt idx="627">52.967741935483872</cx:pt>
          <cx:pt idx="628">52.87096774193548</cx:pt>
          <cx:pt idx="629">52.838709677419352</cx:pt>
          <cx:pt idx="630">53.096774193548384</cx:pt>
          <cx:pt idx="631">53.032258064516128</cx:pt>
          <cx:pt idx="632">53.193548387096776</cx:pt>
          <cx:pt idx="633">53.225806451612904</cx:pt>
          <cx:pt idx="634">53.29032258064516</cx:pt>
          <cx:pt idx="635">53.322580645161288</cx:pt>
          <cx:pt idx="636">53.322580645161288</cx:pt>
          <cx:pt idx="637">53.322580645161288</cx:pt>
          <cx:pt idx="638">53.41935483870968</cx:pt>
          <cx:pt idx="639">53.354838709677416</cx:pt>
          <cx:pt idx="640">53.451612903225808</cx:pt>
          <cx:pt idx="641">53.516129032258064</cx:pt>
          <cx:pt idx="642">53.58064516129032</cx:pt>
          <cx:pt idx="643">53.645161290322584</cx:pt>
          <cx:pt idx="644">53.70967741935484</cx:pt>
          <cx:pt idx="645">53.70967741935484</cx:pt>
          <cx:pt idx="646">53.387096774193552</cx:pt>
          <cx:pt idx="647">53.225806451612904</cx:pt>
          <cx:pt idx="648">53.193548387096776</cx:pt>
          <cx:pt idx="649">53.064516129032256</cx:pt>
          <cx:pt idx="650">53.032258064516128</cx:pt>
          <cx:pt idx="651">52.774193548387096</cx:pt>
          <cx:pt idx="652">52.58064516129032</cx:pt>
          <cx:pt idx="653">52.645161290322584</cx:pt>
          <cx:pt idx="654">52.58064516129032</cx:pt>
          <cx:pt idx="655">52.516129032258064</cx:pt>
          <cx:pt idx="656">52.483870967741936</cx:pt>
          <cx:pt idx="657">52.258064516129032</cx:pt>
          <cx:pt idx="658">52</cx:pt>
          <cx:pt idx="659">51.838709677419352</cx:pt>
          <cx:pt idx="660">51.838709677419352</cx:pt>
          <cx:pt idx="661">51.774193548387096</cx:pt>
          <cx:pt idx="662">51.677419354838712</cx:pt>
          <cx:pt idx="663">51.516129032258064</cx:pt>
          <cx:pt idx="664">51.451612903225808</cx:pt>
          <cx:pt idx="665">51.354838709677416</cx:pt>
          <cx:pt idx="666">51.193548387096776</cx:pt>
          <cx:pt idx="667">51.12903225806452</cx:pt>
          <cx:pt idx="668">51.161290322580648</cx:pt>
          <cx:pt idx="669">51.096774193548384</cx:pt>
          <cx:pt idx="670">50.838709677419352</cx:pt>
          <cx:pt idx="671">50.516129032258064</cx:pt>
          <cx:pt idx="672">50.225806451612904</cx:pt>
          <cx:pt idx="673">50</cx:pt>
          <cx:pt idx="674">49.87096774193548</cx:pt>
          <cx:pt idx="675">49.612903225806448</cx:pt>
          <cx:pt idx="676">49.387096774193552</cx:pt>
          <cx:pt idx="677">49.387096774193552</cx:pt>
          <cx:pt idx="678">49.322580645161288</cx:pt>
          <cx:pt idx="679">49.12903225806452</cx:pt>
          <cx:pt idx="680">49.064516129032256</cx:pt>
          <cx:pt idx="681">49.032258064516128</cx:pt>
          <cx:pt idx="682">49.322580645161288</cx:pt>
          <cx:pt idx="683">49.516129032258064</cx:pt>
          <cx:pt idx="684">49.516129032258064</cx:pt>
          <cx:pt idx="685">49.483870967741936</cx:pt>
          <cx:pt idx="686">49.225806451612904</cx:pt>
          <cx:pt idx="687">49.225806451612904</cx:pt>
          <cx:pt idx="688">49.387096774193552</cx:pt>
          <cx:pt idx="689">49.483870967741936</cx:pt>
          <cx:pt idx="690">49.70967741935484</cx:pt>
          <cx:pt idx="691">49.58064516129032</cx:pt>
          <cx:pt idx="692">49.41935483870968</cx:pt>
          <cx:pt idx="693">49.322580645161288</cx:pt>
          <cx:pt idx="694">49.387096774193552</cx:pt>
          <cx:pt idx="695">49.516129032258064</cx:pt>
          <cx:pt idx="696">49.548387096774192</cx:pt>
          <cx:pt idx="697">49.612903225806448</cx:pt>
          <cx:pt idx="698">49.516129032258064</cx:pt>
          <cx:pt idx="699">49.225806451612904</cx:pt>
          <cx:pt idx="700">49.096774193548384</cx:pt>
          <cx:pt idx="701">49.193548387096776</cx:pt>
          <cx:pt idx="702">49.322580645161288</cx:pt>
          <cx:pt idx="703">49.41935483870968</cx:pt>
          <cx:pt idx="704">49.41935483870968</cx:pt>
          <cx:pt idx="705">49.483870967741936</cx:pt>
          <cx:pt idx="706">49.70967741935484</cx:pt>
          <cx:pt idx="707">49.838709677419352</cx:pt>
          <cx:pt idx="708">50</cx:pt>
          <cx:pt idx="709">50.161290322580648</cx:pt>
          <cx:pt idx="710">50.161290322580648</cx:pt>
          <cx:pt idx="711">50.12903225806452</cx:pt>
          <cx:pt idx="712">50</cx:pt>
          <cx:pt idx="713">50.032258064516128</cx:pt>
          <cx:pt idx="714">49.838709677419352</cx:pt>
          <cx:pt idx="715">49.838709677419352</cx:pt>
          <cx:pt idx="716">49.741935483870968</cx:pt>
          <cx:pt idx="717">50</cx:pt>
          <cx:pt idx="718">49.806451612903224</cx:pt>
          <cx:pt idx="719">49.87096774193548</cx:pt>
          <cx:pt idx="720">49.741935483870968</cx:pt>
          <cx:pt idx="721">49.612903225806448</cx:pt>
          <cx:pt idx="722">49.741935483870968</cx:pt>
          <cx:pt idx="723">49.87096774193548</cx:pt>
          <cx:pt idx="724">50.064516129032256</cx:pt>
          <cx:pt idx="725">50.12903225806452</cx:pt>
          <cx:pt idx="726">49.967741935483872</cx:pt>
          <cx:pt idx="727">49.903225806451616</cx:pt>
          <cx:pt idx="728">49.935483870967744</cx:pt>
          <cx:pt idx="729">49.87096774193548</cx:pt>
          <cx:pt idx="730">50.032258064516128</cx:pt>
          <cx:pt idx="731">50.12903225806452</cx:pt>
          <cx:pt idx="732">50.193548387096776</cx:pt>
          <cx:pt idx="733">50.064516129032256</cx:pt>
          <cx:pt idx="734">49.935483870967744</cx:pt>
          <cx:pt idx="735">50</cx:pt>
          <cx:pt idx="736">49.903225806451616</cx:pt>
          <cx:pt idx="737">49.903225806451616</cx:pt>
          <cx:pt idx="738">49.87096774193548</cx:pt>
          <cx:pt idx="739">49.741935483870968</cx:pt>
          <cx:pt idx="740">49.58064516129032</cx:pt>
          <cx:pt idx="741">49.806451612903224</cx:pt>
          <cx:pt idx="742">49.87096774193548</cx:pt>
          <cx:pt idx="743">49.967741935483872</cx:pt>
          <cx:pt idx="744">49.677419354838712</cx:pt>
          <cx:pt idx="745">49.774193548387096</cx:pt>
          <cx:pt idx="746">49.58064516129032</cx:pt>
          <cx:pt idx="747">49.516129032258064</cx:pt>
          <cx:pt idx="748">49.354838709677416</cx:pt>
          <cx:pt idx="749">49.516129032258064</cx:pt>
          <cx:pt idx="750">49.225806451612904</cx:pt>
          <cx:pt idx="751">49.483870967741936</cx:pt>
          <cx:pt idx="752">49.354838709677416</cx:pt>
          <cx:pt idx="753">49.193548387096776</cx:pt>
          <cx:pt idx="754">49.096774193548384</cx:pt>
          <cx:pt idx="755">49.096774193548384</cx:pt>
          <cx:pt idx="756">48.87096774193548</cx:pt>
          <cx:pt idx="757">48.903225806451616</cx:pt>
          <cx:pt idx="758">49</cx:pt>
          <cx:pt idx="759">48.806451612903224</cx:pt>
          <cx:pt idx="760">48.967741935483872</cx:pt>
          <cx:pt idx="761">48.838709677419352</cx:pt>
          <cx:pt idx="762">48.612903225806448</cx:pt>
          <cx:pt idx="763">48.677419354838712</cx:pt>
          <cx:pt idx="764">48.774193548387096</cx:pt>
          <cx:pt idx="765">49</cx:pt>
          <cx:pt idx="766">49.161290322580648</cx:pt>
          <cx:pt idx="767">49.064516129032256</cx:pt>
          <cx:pt idx="768">48.838709677419352</cx:pt>
          <cx:pt idx="769">49.032258064516128</cx:pt>
          <cx:pt idx="770">49.322580645161288</cx:pt>
          <cx:pt idx="771">49.354838709677416</cx:pt>
          <cx:pt idx="772">49.12903225806452</cx:pt>
          <cx:pt idx="773">49.322580645161288</cx:pt>
          <cx:pt idx="774">49.451612903225808</cx:pt>
          <cx:pt idx="775">49.677419354838712</cx:pt>
          <cx:pt idx="776">49.806451612903224</cx:pt>
          <cx:pt idx="777">50</cx:pt>
          <cx:pt idx="778">50.225806451612904</cx:pt>
          <cx:pt idx="779">50.354838709677416</cx:pt>
          <cx:pt idx="780">50.258064516129032</cx:pt>
          <cx:pt idx="781">50.29032258064516</cx:pt>
          <cx:pt idx="782">50.161290322580648</cx:pt>
          <cx:pt idx="783">50.161290322580648</cx:pt>
          <cx:pt idx="784">50.322580645161288</cx:pt>
          <cx:pt idx="785">50.387096774193552</cx:pt>
          <cx:pt idx="786">50.322580645161288</cx:pt>
          <cx:pt idx="787">50.387096774193552</cx:pt>
          <cx:pt idx="788">50.354838709677416</cx:pt>
          <cx:pt idx="789">50.29032258064516</cx:pt>
          <cx:pt idx="790">50.354838709677416</cx:pt>
          <cx:pt idx="791">50.29032258064516</cx:pt>
          <cx:pt idx="792">50.451612903225808</cx:pt>
          <cx:pt idx="793">50.451612903225808</cx:pt>
          <cx:pt idx="794">50.41935483870968</cx:pt>
          <cx:pt idx="795">50.548387096774192</cx:pt>
          <cx:pt idx="796">50.322580645161288</cx:pt>
          <cx:pt idx="797">50.322580645161288</cx:pt>
          <cx:pt idx="798">50.354838709677416</cx:pt>
          <cx:pt idx="799">50.354838709677416</cx:pt>
          <cx:pt idx="800">50.096774193548384</cx:pt>
          <cx:pt idx="801">49.806451612903224</cx:pt>
          <cx:pt idx="802">49.774193548387096</cx:pt>
          <cx:pt idx="803">49.774193548387096</cx:pt>
          <cx:pt idx="804">49.70967741935484</cx:pt>
          <cx:pt idx="805">49.645161290322584</cx:pt>
          <cx:pt idx="806">49.58064516129032</cx:pt>
          <cx:pt idx="807">49.645161290322584</cx:pt>
          <cx:pt idx="808">49.58064516129032</cx:pt>
          <cx:pt idx="809">49.483870967741936</cx:pt>
          <cx:pt idx="810">49.387096774193552</cx:pt>
          <cx:pt idx="811">49.387096774193552</cx:pt>
          <cx:pt idx="812">49.645161290322584</cx:pt>
          <cx:pt idx="813">49.516129032258064</cx:pt>
          <cx:pt idx="814">49.58064516129032</cx:pt>
          <cx:pt idx="815">49.645161290322584</cx:pt>
          <cx:pt idx="816">49.483870967741936</cx:pt>
          <cx:pt idx="817">49.516129032258064</cx:pt>
          <cx:pt idx="818">49.548387096774192</cx:pt>
          <cx:pt idx="819">49.612903225806448</cx:pt>
          <cx:pt idx="820">49.58064516129032</cx:pt>
          <cx:pt idx="821">49.806451612903224</cx:pt>
          <cx:pt idx="822">49.87096774193548</cx:pt>
          <cx:pt idx="823">49.87096774193548</cx:pt>
          <cx:pt idx="824">50</cx:pt>
          <cx:pt idx="825">49.87096774193548</cx:pt>
          <cx:pt idx="826">49.741935483870968</cx:pt>
          <cx:pt idx="827">49.838709677419352</cx:pt>
          <cx:pt idx="828">49.741935483870968</cx:pt>
          <cx:pt idx="829">49.774193548387096</cx:pt>
          <cx:pt idx="830">49.903225806451616</cx:pt>
          <cx:pt idx="831">50.096774193548384</cx:pt>
          <cx:pt idx="832">50.29032258064516</cx:pt>
          <cx:pt idx="833">50.354838709677416</cx:pt>
          <cx:pt idx="834">50.483870967741936</cx:pt>
          <cx:pt idx="835">50.225806451612904</cx:pt>
          <cx:pt idx="836">50.29032258064516</cx:pt>
          <cx:pt idx="837">50.161290322580648</cx:pt>
          <cx:pt idx="838">50.096774193548384</cx:pt>
          <cx:pt idx="839">49.903225806451616</cx:pt>
          <cx:pt idx="840">49.967741935483872</cx:pt>
          <cx:pt idx="841">50.032258064516128</cx:pt>
          <cx:pt idx="842">50.193548387096776</cx:pt>
          <cx:pt idx="843">49.903225806451616</cx:pt>
          <cx:pt idx="844">50</cx:pt>
          <cx:pt idx="845">49.935483870967744</cx:pt>
          <cx:pt idx="846">49.774193548387096</cx:pt>
          <cx:pt idx="847">50.064516129032256</cx:pt>
          <cx:pt idx="848">50.064516129032256</cx:pt>
          <cx:pt idx="849">49.967741935483872</cx:pt>
          <cx:pt idx="850">49.741935483870968</cx:pt>
          <cx:pt idx="851">49.774193548387096</cx:pt>
          <cx:pt idx="852">49.612903225806448</cx:pt>
          <cx:pt idx="853">49.41935483870968</cx:pt>
          <cx:pt idx="854">49.516129032258064</cx:pt>
          <cx:pt idx="855">49.483870967741936</cx:pt>
          <cx:pt idx="856">49.516129032258064</cx:pt>
          <cx:pt idx="857">49.70967741935484</cx:pt>
          <cx:pt idx="858">49.612903225806448</cx:pt>
          <cx:pt idx="859">49.612903225806448</cx:pt>
          <cx:pt idx="860">49.774193548387096</cx:pt>
          <cx:pt idx="861">49.612903225806448</cx:pt>
          <cx:pt idx="862">49.387096774193552</cx:pt>
          <cx:pt idx="863">49.387096774193552</cx:pt>
          <cx:pt idx="864">49.322580645161288</cx:pt>
          <cx:pt idx="865">49.483870967741936</cx:pt>
          <cx:pt idx="866">49.645161290322584</cx:pt>
          <cx:pt idx="867">49.41935483870968</cx:pt>
          <cx:pt idx="868">49.677419354838712</cx:pt>
          <cx:pt idx="869">49.741935483870968</cx:pt>
          <cx:pt idx="870">49.806451612903224</cx:pt>
          <cx:pt idx="871">49.58064516129032</cx:pt>
          <cx:pt idx="872">49.483870967741936</cx:pt>
          <cx:pt idx="873">49.258064516129032</cx:pt>
          <cx:pt idx="874">49.322580645161288</cx:pt>
          <cx:pt idx="875">49.354838709677416</cx:pt>
          <cx:pt idx="876">49.548387096774192</cx:pt>
          <cx:pt idx="877">49.41935483870968</cx:pt>
          <cx:pt idx="878">49.41935483870968</cx:pt>
          <cx:pt idx="879">49.451612903225808</cx:pt>
          <cx:pt idx="880">49.58064516129032</cx:pt>
          <cx:pt idx="881">49.903225806451616</cx:pt>
          <cx:pt idx="882">49.935483870967744</cx:pt>
          <cx:pt idx="883">50.032258064516128</cx:pt>
          <cx:pt idx="884">50.29032258064516</cx:pt>
          <cx:pt idx="885">50.322580645161288</cx:pt>
          <cx:pt idx="886">50.548387096774192</cx:pt>
          <cx:pt idx="887">50.483870967741936</cx:pt>
          <cx:pt idx="888">50.29032258064516</cx:pt>
          <cx:pt idx="889">50.451612903225808</cx:pt>
          <cx:pt idx="890">50.516129032258064</cx:pt>
          <cx:pt idx="891">50.451612903225808</cx:pt>
          <cx:pt idx="892">50.677419354838712</cx:pt>
          <cx:pt idx="893">50.806451612903224</cx:pt>
          <cx:pt idx="894">50.58064516129032</cx:pt>
          <cx:pt idx="895">50.677419354838712</cx:pt>
          <cx:pt idx="896">50.548387096774192</cx:pt>
          <cx:pt idx="897">50.548387096774192</cx:pt>
          <cx:pt idx="898">50.612903225806448</cx:pt>
          <cx:pt idx="899">50.354838709677416</cx:pt>
          <cx:pt idx="900">50.064516129032256</cx:pt>
          <cx:pt idx="901">49.967741935483872</cx:pt>
          <cx:pt idx="902">50</cx:pt>
          <cx:pt idx="903">50.096774193548384</cx:pt>
          <cx:pt idx="904">50.258064516129032</cx:pt>
          <cx:pt idx="905">50.41935483870968</cx:pt>
          <cx:pt idx="906">50.58064516129032</cx:pt>
          <cx:pt idx="907">50.483870967741936</cx:pt>
          <cx:pt idx="908">50.612903225806448</cx:pt>
          <cx:pt idx="909">50.387096774193552</cx:pt>
          <cx:pt idx="910">50.161290322580648</cx:pt>
          <cx:pt idx="911">50.225806451612904</cx:pt>
          <cx:pt idx="912">49.935483870967744</cx:pt>
          <cx:pt idx="913">49.806451612903224</cx:pt>
          <cx:pt idx="914">49.903225806451616</cx:pt>
          <cx:pt idx="915">49.903225806451616</cx:pt>
          <cx:pt idx="916">49.806451612903224</cx:pt>
          <cx:pt idx="917">49.774193548387096</cx:pt>
          <cx:pt idx="918">49.935483870967744</cx:pt>
          <cx:pt idx="919">50</cx:pt>
          <cx:pt idx="920">49.935483870967744</cx:pt>
          <cx:pt idx="921">49.774193548387096</cx:pt>
          <cx:pt idx="922">49.774193548387096</cx:pt>
          <cx:pt idx="923">49.548387096774192</cx:pt>
          <cx:pt idx="924">49.677419354838712</cx:pt>
          <cx:pt idx="925">49.903225806451616</cx:pt>
          <cx:pt idx="926">49.806451612903224</cx:pt>
          <cx:pt idx="927">49.70967741935484</cx:pt>
          <cx:pt idx="928">49.612903225806448</cx:pt>
          <cx:pt idx="929">49.741935483870968</cx:pt>
          <cx:pt idx="930">49.806451612903224</cx:pt>
          <cx:pt idx="931">50.032258064516128</cx:pt>
          <cx:pt idx="932">50.193548387096776</cx:pt>
          <cx:pt idx="933">50.193548387096776</cx:pt>
          <cx:pt idx="934">50.225806451612904</cx:pt>
          <cx:pt idx="935">50.354838709677416</cx:pt>
          <cx:pt idx="936">50.096774193548384</cx:pt>
          <cx:pt idx="937">50.032258064516128</cx:pt>
          <cx:pt idx="938">50.225806451612904</cx:pt>
          <cx:pt idx="939">50.12903225806452</cx:pt>
          <cx:pt idx="940">50.258064516129032</cx:pt>
          <cx:pt idx="941">50.387096774193552</cx:pt>
          <cx:pt idx="942">50.354838709677416</cx:pt>
          <cx:pt idx="943">50.548387096774192</cx:pt>
          <cx:pt idx="944">50.741935483870968</cx:pt>
          <cx:pt idx="945">50.677419354838712</cx:pt>
          <cx:pt idx="946">50.483870967741936</cx:pt>
          <cx:pt idx="947">50.354838709677416</cx:pt>
          <cx:pt idx="948">50.064516129032256</cx:pt>
          <cx:pt idx="949">50.161290322580648</cx:pt>
          <cx:pt idx="950">50.322580645161288</cx:pt>
          <cx:pt idx="951">50.483870967741936</cx:pt>
          <cx:pt idx="952">50.645161290322584</cx:pt>
          <cx:pt idx="953">50.645161290322584</cx:pt>
          <cx:pt idx="954">50.741935483870968</cx:pt>
          <cx:pt idx="955">50.741935483870968</cx:pt>
          <cx:pt idx="956">50.58064516129032</cx:pt>
          <cx:pt idx="957">50.806451612903224</cx:pt>
          <cx:pt idx="958">50.774193548387096</cx:pt>
          <cx:pt idx="959">50.838709677419352</cx:pt>
          <cx:pt idx="960">50.645161290322584</cx:pt>
          <cx:pt idx="961">50.516129032258064</cx:pt>
          <cx:pt idx="962">50.516129032258064</cx:pt>
          <cx:pt idx="963">50.483870967741936</cx:pt>
          <cx:pt idx="964">50.612903225806448</cx:pt>
          <cx:pt idx="965">50.677419354838712</cx:pt>
          <cx:pt idx="966">50.451612903225808</cx:pt>
          <cx:pt idx="967">50.70967741935484</cx:pt>
          <cx:pt idx="968">50.677419354838712</cx:pt>
          <cx:pt idx="969">50.516129032258064</cx:pt>
          <cx:pt idx="970">50.516129032258064</cx:pt>
          <cx:pt idx="971">50.322580645161288</cx:pt>
          <cx:pt idx="972">50.354838709677416</cx:pt>
          <cx:pt idx="973">50.161290322580648</cx:pt>
          <cx:pt idx="974">50.096774193548384</cx:pt>
          <cx:pt idx="975">49.967741935483872</cx:pt>
          <cx:pt idx="976">49.838709677419352</cx:pt>
          <cx:pt idx="977">49.70967741935484</cx:pt>
          <cx:pt idx="978">49.935483870967744</cx:pt>
          <cx:pt idx="979">49.935483870967744</cx:pt>
          <cx:pt idx="980">49.70967741935484</cx:pt>
          <cx:pt idx="981">49.677419354838712</cx:pt>
          <cx:pt idx="982">49.41935483870968</cx:pt>
          <cx:pt idx="983">49.322580645161288</cx:pt>
          <cx:pt idx="984">49.161290322580648</cx:pt>
          <cx:pt idx="985">49.322580645161288</cx:pt>
          <cx:pt idx="986">49.258064516129032</cx:pt>
          <cx:pt idx="987">49.29032258064516</cx:pt>
          <cx:pt idx="988">48.967741935483872</cx:pt>
          <cx:pt idx="989">49.032258064516128</cx:pt>
          <cx:pt idx="990">49.161290322580648</cx:pt>
          <cx:pt idx="991">49.12903225806452</cx:pt>
          <cx:pt idx="992">49.193548387096776</cx:pt>
          <cx:pt idx="993">49.161290322580648</cx:pt>
          <cx:pt idx="994">49.29032258064516</cx:pt>
          <cx:pt idx="995">49.41935483870968</cx:pt>
          <cx:pt idx="996">49.161290322580648</cx:pt>
          <cx:pt idx="997">49.387096774193552</cx:pt>
          <cx:pt idx="998">49.387096774193552</cx:pt>
          <cx:pt idx="999">49.225806451612904</cx:pt>
          <cx:pt idx="1000">49.322580645161288</cx:pt>
          <cx:pt idx="1001">49.322580645161288</cx:pt>
          <cx:pt idx="1002">49.548387096774192</cx:pt>
          <cx:pt idx="1003">49.387096774193552</cx:pt>
          <cx:pt idx="1004">49.483870967741936</cx:pt>
          <cx:pt idx="1005">49.612903225806448</cx:pt>
          <cx:pt idx="1006">49.741935483870968</cx:pt>
          <cx:pt idx="1007">49.87096774193548</cx:pt>
          <cx:pt idx="1008">49.935483870967744</cx:pt>
          <cx:pt idx="1009">49.70967741935484</cx:pt>
          <cx:pt idx="1010">49.70967741935484</cx:pt>
          <cx:pt idx="1011">49.838709677419352</cx:pt>
          <cx:pt idx="1012">49.612903225806448</cx:pt>
          <cx:pt idx="1013">49.903225806451616</cx:pt>
          <cx:pt idx="1014">49.741935483870968</cx:pt>
          <cx:pt idx="1015">49.774193548387096</cx:pt>
          <cx:pt idx="1016">49.806451612903224</cx:pt>
          <cx:pt idx="1017">49.58064516129032</cx:pt>
          <cx:pt idx="1018">49.741935483870968</cx:pt>
          <cx:pt idx="1019">50.064516129032256</cx:pt>
          <cx:pt idx="1020">50.29032258064516</cx:pt>
          <cx:pt idx="1021">50.064516129032256</cx:pt>
          <cx:pt idx="1022">50.064516129032256</cx:pt>
          <cx:pt idx="1023">50.096774193548384</cx:pt>
          <cx:pt idx="1024">50</cx:pt>
          <cx:pt idx="1025">50.032258064516128</cx:pt>
          <cx:pt idx="1026">50</cx:pt>
          <cx:pt idx="1027">50.258064516129032</cx:pt>
          <cx:pt idx="1028">50.193548387096776</cx:pt>
          <cx:pt idx="1029">50.12903225806452</cx:pt>
          <cx:pt idx="1030">50.161290322580648</cx:pt>
          <cx:pt idx="1031">50.096774193548384</cx:pt>
          <cx:pt idx="1032">50.258064516129032</cx:pt>
          <cx:pt idx="1033">50.354838709677416</cx:pt>
          <cx:pt idx="1034">50.387096774193552</cx:pt>
          <cx:pt idx="1035">50.29032258064516</cx:pt>
          <cx:pt idx="1036">50.29032258064516</cx:pt>
          <cx:pt idx="1037">50.161290322580648</cx:pt>
          <cx:pt idx="1038">50.096774193548384</cx:pt>
          <cx:pt idx="1039">50.096774193548384</cx:pt>
          <cx:pt idx="1040">50.322580645161288</cx:pt>
          <cx:pt idx="1041">50.58064516129032</cx:pt>
          <cx:pt idx="1042">50.70967741935484</cx:pt>
          <cx:pt idx="1043">50.903225806451616</cx:pt>
          <cx:pt idx="1044">50.903225806451616</cx:pt>
          <cx:pt idx="1045">51.12903225806452</cx:pt>
          <cx:pt idx="1046">51.322580645161288</cx:pt>
          <cx:pt idx="1047">51.258064516129032</cx:pt>
          <cx:pt idx="1048">51.548387096774192</cx:pt>
          <cx:pt idx="1049">51.548387096774192</cx:pt>
          <cx:pt idx="1050">51.516129032258064</cx:pt>
          <cx:pt idx="1051">51.451612903225808</cx:pt>
          <cx:pt idx="1052">51.677419354838712</cx:pt>
          <cx:pt idx="1053">51.838709677419352</cx:pt>
          <cx:pt idx="1054">52.032258064516128</cx:pt>
          <cx:pt idx="1055">52.161290322580648</cx:pt>
          <cx:pt idx="1056">52.096774193548384</cx:pt>
          <cx:pt idx="1057">52.064516129032256</cx:pt>
          <cx:pt idx="1058">52.032258064516128</cx:pt>
          <cx:pt idx="1059">52.064516129032256</cx:pt>
          <cx:pt idx="1060">52.096774193548384</cx:pt>
          <cx:pt idx="1061">52.29032258064516</cx:pt>
          <cx:pt idx="1062">52.387096774193552</cx:pt>
          <cx:pt idx="1063">52.41935483870968</cx:pt>
          <cx:pt idx="1064">52.41935483870968</cx:pt>
          <cx:pt idx="1065">52.645161290322584</cx:pt>
          <cx:pt idx="1066">52.903225806451616</cx:pt>
          <cx:pt idx="1067">52.903225806451616</cx:pt>
          <cx:pt idx="1068">52.967741935483872</cx:pt>
          <cx:pt idx="1069">53.064516129032256</cx:pt>
          <cx:pt idx="1070">53.225806451612904</cx:pt>
          <cx:pt idx="1071">53.225806451612904</cx:pt>
          <cx:pt idx="1072">53.193548387096776</cx:pt>
          <cx:pt idx="1073">53.12903225806452</cx:pt>
          <cx:pt idx="1074">53.12903225806452</cx:pt>
          <cx:pt idx="1075">53.096774193548384</cx:pt>
          <cx:pt idx="1076">53.096774193548384</cx:pt>
          <cx:pt idx="1077">53.161290322580648</cx:pt>
          <cx:pt idx="1078">53.161290322580648</cx:pt>
          <cx:pt idx="1079">53.096774193548384</cx:pt>
          <cx:pt idx="1080">53.096774193548384</cx:pt>
          <cx:pt idx="1081">53.096774193548384</cx:pt>
          <cx:pt idx="1082">53.12903225806452</cx:pt>
          <cx:pt idx="1083">53.12903225806452</cx:pt>
          <cx:pt idx="1084">52.935483870967744</cx:pt>
          <cx:pt idx="1085">52.903225806451616</cx:pt>
          <cx:pt idx="1086">52.677419354838712</cx:pt>
          <cx:pt idx="1087">52.548387096774192</cx:pt>
          <cx:pt idx="1088">52.387096774193552</cx:pt>
          <cx:pt idx="1089">52.29032258064516</cx:pt>
          <cx:pt idx="1090">52.258064516129032</cx:pt>
          <cx:pt idx="1091">52.354838709677416</cx:pt>
          <cx:pt idx="1092">52.096774193548384</cx:pt>
          <cx:pt idx="1093">52.032258064516128</cx:pt>
          <cx:pt idx="1094">52.064516129032256</cx:pt>
          <cx:pt idx="1095">51.967741935483872</cx:pt>
          <cx:pt idx="1096">51.806451612903224</cx:pt>
          <cx:pt idx="1097">51.70967741935484</cx:pt>
          <cx:pt idx="1098">51.516129032258064</cx:pt>
          <cx:pt idx="1099">51.41935483870968</cx:pt>
          <cx:pt idx="1100">51.193548387096776</cx:pt>
          <cx:pt idx="1101">51.29032258064516</cx:pt>
          <cx:pt idx="1102">51.032258064516128</cx:pt>
          <cx:pt idx="1103">50.903225806451616</cx:pt>
          <cx:pt idx="1104">50.935483870967744</cx:pt>
          <cx:pt idx="1105">50.87096774193548</cx:pt>
          <cx:pt idx="1106">50.774193548387096</cx:pt>
          <cx:pt idx="1107">50.838709677419352</cx:pt>
          <cx:pt idx="1108">50.516129032258064</cx:pt>
          <cx:pt idx="1109">50.29032258064516</cx:pt>
          <cx:pt idx="1110">50.322580645161288</cx:pt>
          <cx:pt idx="1111">50.387096774193552</cx:pt>
          <cx:pt idx="1112">50.322580645161288</cx:pt>
          <cx:pt idx="1113">50.161290322580648</cx:pt>
          <cx:pt idx="1114">50.096774193548384</cx:pt>
          <cx:pt idx="1115">50.387096774193552</cx:pt>
          <cx:pt idx="1116">50.354838709677416</cx:pt>
          <cx:pt idx="1117">50.612903225806448</cx:pt>
          <cx:pt idx="1118">50.741935483870968</cx:pt>
          <cx:pt idx="1119">50.967741935483872</cx:pt>
          <cx:pt idx="1120">51.064516129032256</cx:pt>
          <cx:pt idx="1121">50.87096774193548</cx:pt>
          <cx:pt idx="1122">50.87096774193548</cx:pt>
          <cx:pt idx="1123">50.967741935483872</cx:pt>
          <cx:pt idx="1124">51</cx:pt>
          <cx:pt idx="1125">51</cx:pt>
          <cx:pt idx="1126">50.967741935483872</cx:pt>
          <cx:pt idx="1127">51.12903225806452</cx:pt>
          <cx:pt idx="1128">51.161290322580648</cx:pt>
          <cx:pt idx="1129">51.387096774193552</cx:pt>
          <cx:pt idx="1130">51.29032258064516</cx:pt>
          <cx:pt idx="1131">51.483870967741936</cx:pt>
          <cx:pt idx="1132">51.29032258064516</cx:pt>
          <cx:pt idx="1133">51.225806451612904</cx:pt>
          <cx:pt idx="1134">51.41935483870968</cx:pt>
          <cx:pt idx="1135">51.322580645161288</cx:pt>
          <cx:pt idx="1136">51.354838709677416</cx:pt>
          <cx:pt idx="1137">51.322580645161288</cx:pt>
          <cx:pt idx="1138">51.354838709677416</cx:pt>
          <cx:pt idx="1139">51.41935483870968</cx:pt>
          <cx:pt idx="1140">51.741935483870968</cx:pt>
          <cx:pt idx="1141">51.548387096774192</cx:pt>
          <cx:pt idx="1142">51.41935483870968</cx:pt>
          <cx:pt idx="1143">51.516129032258064</cx:pt>
          <cx:pt idx="1144">51.41935483870968</cx:pt>
          <cx:pt idx="1145">51.225806451612904</cx:pt>
          <cx:pt idx="1146">51.161290322580648</cx:pt>
          <cx:pt idx="1147">51.161290322580648</cx:pt>
          <cx:pt idx="1148">50.87096774193548</cx:pt>
          <cx:pt idx="1149">50.612903225806448</cx:pt>
          <cx:pt idx="1150">50.483870967741936</cx:pt>
          <cx:pt idx="1151">50.29032258064516</cx:pt>
          <cx:pt idx="1152">50.516129032258064</cx:pt>
          <cx:pt idx="1153">50.322580645161288</cx:pt>
          <cx:pt idx="1154">50.258064516129032</cx:pt>
          <cx:pt idx="1155">50.258064516129032</cx:pt>
          <cx:pt idx="1156">50.032258064516128</cx:pt>
          <cx:pt idx="1157">50.032258064516128</cx:pt>
          <cx:pt idx="1158">50.096774193548384</cx:pt>
          <cx:pt idx="1159">50.032258064516128</cx:pt>
          <cx:pt idx="1160">49.838709677419352</cx:pt>
          <cx:pt idx="1161">50.064516129032256</cx:pt>
          <cx:pt idx="1162">50</cx:pt>
          <cx:pt idx="1163">49.935483870967744</cx:pt>
          <cx:pt idx="1164">49.935483870967744</cx:pt>
          <cx:pt idx="1165">49.741935483870968</cx:pt>
          <cx:pt idx="1166">49.838709677419352</cx:pt>
          <cx:pt idx="1167">49.774193548387096</cx:pt>
          <cx:pt idx="1168">49.645161290322584</cx:pt>
          <cx:pt idx="1169">49.58064516129032</cx:pt>
          <cx:pt idx="1170">49.645161290322584</cx:pt>
          <cx:pt idx="1171">49.41935483870968</cx:pt>
          <cx:pt idx="1172">49.387096774193552</cx:pt>
          <cx:pt idx="1173">49.225806451612904</cx:pt>
          <cx:pt idx="1174">49.193548387096776</cx:pt>
          <cx:pt idx="1175">49.225806451612904</cx:pt>
          <cx:pt idx="1176">49.483870967741936</cx:pt>
          <cx:pt idx="1177">49.354838709677416</cx:pt>
          <cx:pt idx="1178">49.225806451612904</cx:pt>
          <cx:pt idx="1179">49.451612903225808</cx:pt>
          <cx:pt idx="1180">49.548387096774192</cx:pt>
          <cx:pt idx="1181">49.548387096774192</cx:pt>
          <cx:pt idx="1182">49.774193548387096</cx:pt>
          <cx:pt idx="1183">49.774193548387096</cx:pt>
          <cx:pt idx="1184">49.677419354838712</cx:pt>
          <cx:pt idx="1185">49.741935483870968</cx:pt>
          <cx:pt idx="1186">49.483870967741936</cx:pt>
          <cx:pt idx="1187">49.451612903225808</cx:pt>
          <cx:pt idx="1188">49.483870967741936</cx:pt>
          <cx:pt idx="1189">49.193548387096776</cx:pt>
          <cx:pt idx="1190">49.258064516129032</cx:pt>
          <cx:pt idx="1191">49.387096774193552</cx:pt>
          <cx:pt idx="1192">49.451612903225808</cx:pt>
          <cx:pt idx="1193">49.322580645161288</cx:pt>
          <cx:pt idx="1194">49.483870967741936</cx:pt>
          <cx:pt idx="1195">49.677419354838712</cx:pt>
          <cx:pt idx="1196">49.612903225806448</cx:pt>
          <cx:pt idx="1197">49.645161290322584</cx:pt>
          <cx:pt idx="1198">49.741935483870968</cx:pt>
          <cx:pt idx="1199">49.87096774193548</cx:pt>
          <cx:pt idx="1200">49.87096774193548</cx:pt>
          <cx:pt idx="1201">50</cx:pt>
          <cx:pt idx="1202">50</cx:pt>
          <cx:pt idx="1203">50.064516129032256</cx:pt>
          <cx:pt idx="1204">50.258064516129032</cx:pt>
          <cx:pt idx="1205">49.967741935483872</cx:pt>
          <cx:pt idx="1206">50.096774193548384</cx:pt>
          <cx:pt idx="1207">50.032258064516128</cx:pt>
          <cx:pt idx="1208">50.032258064516128</cx:pt>
          <cx:pt idx="1209">50.225806451612904</cx:pt>
          <cx:pt idx="1210">50.096774193548384</cx:pt>
          <cx:pt idx="1211">50.064516129032256</cx:pt>
          <cx:pt idx="1212">50.225806451612904</cx:pt>
          <cx:pt idx="1213">50.225806451612904</cx:pt>
          <cx:pt idx="1214">50.193548387096776</cx:pt>
          <cx:pt idx="1215">50.483870967741936</cx:pt>
          <cx:pt idx="1216">50.58064516129032</cx:pt>
          <cx:pt idx="1217">50.70967741935484</cx:pt>
          <cx:pt idx="1218">51</cx:pt>
          <cx:pt idx="1219">51.032258064516128</cx:pt>
          <cx:pt idx="1220">51.225806451612904</cx:pt>
          <cx:pt idx="1221">51.354838709677416</cx:pt>
          <cx:pt idx="1222">51.354838709677416</cx:pt>
          <cx:pt idx="1223">51.12903225806452</cx:pt>
          <cx:pt idx="1224">51.354838709677416</cx:pt>
          <cx:pt idx="1225">51.41935483870968</cx:pt>
          <cx:pt idx="1226">51.41935483870968</cx:pt>
          <cx:pt idx="1227">51.70967741935484</cx:pt>
          <cx:pt idx="1228">51.483870967741936</cx:pt>
          <cx:pt idx="1229">51.322580645161288</cx:pt>
          <cx:pt idx="1230">51.516129032258064</cx:pt>
          <cx:pt idx="1231">51.516129032258064</cx:pt>
          <cx:pt idx="1232">51.483870967741936</cx:pt>
          <cx:pt idx="1233">51.645161290322584</cx:pt>
          <cx:pt idx="1234">51.87096774193548</cx:pt>
          <cx:pt idx="1235">51.903225806451616</cx:pt>
          <cx:pt idx="1236">52.161290322580648</cx:pt>
          <cx:pt idx="1237">52.225806451612904</cx:pt>
          <cx:pt idx="1238">52.29032258064516</cx:pt>
          <cx:pt idx="1239">52.483870967741936</cx:pt>
          <cx:pt idx="1240">52.41935483870968</cx:pt>
          <cx:pt idx="1241">52.612903225806448</cx:pt>
          <cx:pt idx="1242">52.838709677419352</cx:pt>
          <cx:pt idx="1243">52.741935483870968</cx:pt>
          <cx:pt idx="1244">52.774193548387096</cx:pt>
          <cx:pt idx="1245">52.806451612903224</cx:pt>
          <cx:pt idx="1246">52.741935483870968</cx:pt>
          <cx:pt idx="1247">52.838709677419352</cx:pt>
          <cx:pt idx="1248">52.935483870967744</cx:pt>
          <cx:pt idx="1249">52.967741935483872</cx:pt>
          <cx:pt idx="1250">53</cx:pt>
          <cx:pt idx="1251">53</cx:pt>
          <cx:pt idx="1252">52.903225806451616</cx:pt>
          <cx:pt idx="1253">52.87096774193548</cx:pt>
          <cx:pt idx="1254">53.064516129032256</cx:pt>
          <cx:pt idx="1255">53.096774193548384</cx:pt>
          <cx:pt idx="1256">53.064516129032256</cx:pt>
          <cx:pt idx="1257">53.12903225806452</cx:pt>
          <cx:pt idx="1258">53.096774193548384</cx:pt>
          <cx:pt idx="1259">53.322580645161288</cx:pt>
          <cx:pt idx="1260">53.483870967741936</cx:pt>
          <cx:pt idx="1261">53.387096774193552</cx:pt>
          <cx:pt idx="1262">53.387096774193552</cx:pt>
          <cx:pt idx="1263">53.451612903225808</cx:pt>
          <cx:pt idx="1264">53.451612903225808</cx:pt>
          <cx:pt idx="1265">53.451612903225808</cx:pt>
          <cx:pt idx="1266">53.516129032258064</cx:pt>
          <cx:pt idx="1267">53.516129032258064</cx:pt>
          <cx:pt idx="1268">53.516129032258064</cx:pt>
          <cx:pt idx="1269">53.516129032258064</cx:pt>
          <cx:pt idx="1270">53.483870967741936</cx:pt>
          <cx:pt idx="1271">53.483870967741936</cx:pt>
          <cx:pt idx="1272">53.483870967741936</cx:pt>
          <cx:pt idx="1273">53.451612903225808</cx:pt>
          <cx:pt idx="1274">53.516129032258064</cx:pt>
          <cx:pt idx="1275">53.41935483870968</cx:pt>
          <cx:pt idx="1276">53.193548387096776</cx:pt>
          <cx:pt idx="1277">53.161290322580648</cx:pt>
          <cx:pt idx="1278">53.12903225806452</cx:pt>
          <cx:pt idx="1279">53.032258064516128</cx:pt>
          <cx:pt idx="1280">52.935483870967744</cx:pt>
          <cx:pt idx="1281">52.645161290322584</cx:pt>
          <cx:pt idx="1282">52.677419354838712</cx:pt>
          <cx:pt idx="1283">52.645161290322584</cx:pt>
          <cx:pt idx="1284">52.451612903225808</cx:pt>
          <cx:pt idx="1285">52.387096774193552</cx:pt>
          <cx:pt idx="1286">52.225806451612904</cx:pt>
          <cx:pt idx="1287">52</cx:pt>
          <cx:pt idx="1288">51.806451612903224</cx:pt>
          <cx:pt idx="1289">51.516129032258064</cx:pt>
          <cx:pt idx="1290">51.258064516129032</cx:pt>
          <cx:pt idx="1291">51.161290322580648</cx:pt>
          <cx:pt idx="1292">50.935483870967744</cx:pt>
          <cx:pt idx="1293">50.967741935483872</cx:pt>
          <cx:pt idx="1294">50.70967741935484</cx:pt>
          <cx:pt idx="1295">50.516129032258064</cx:pt>
          <cx:pt idx="1296">50.29032258064516</cx:pt>
          <cx:pt idx="1297">50.161290322580648</cx:pt>
          <cx:pt idx="1298">50.064516129032256</cx:pt>
          <cx:pt idx="1299">49.935483870967744</cx:pt>
          <cx:pt idx="1300">49.967741935483872</cx:pt>
          <cx:pt idx="1301">49.774193548387096</cx:pt>
          <cx:pt idx="1302">49.87096774193548</cx:pt>
          <cx:pt idx="1303">49.774193548387096</cx:pt>
          <cx:pt idx="1304">49.838709677419352</cx:pt>
          <cx:pt idx="1305">49.645161290322584</cx:pt>
          <cx:pt idx="1306">49.677419354838712</cx:pt>
          <cx:pt idx="1307">49.935483870967744</cx:pt>
          <cx:pt idx="1308">50.032258064516128</cx:pt>
          <cx:pt idx="1309">50.064516129032256</cx:pt>
          <cx:pt idx="1310">49.967741935483872</cx:pt>
          <cx:pt idx="1311">50</cx:pt>
          <cx:pt idx="1312">50.12903225806452</cx:pt>
          <cx:pt idx="1313">50.193548387096776</cx:pt>
          <cx:pt idx="1314">50.29032258064516</cx:pt>
          <cx:pt idx="1315">50.387096774193552</cx:pt>
          <cx:pt idx="1316">50.161290322580648</cx:pt>
          <cx:pt idx="1317">50.032258064516128</cx:pt>
          <cx:pt idx="1318">50.064516129032256</cx:pt>
          <cx:pt idx="1319">50.032258064516128</cx:pt>
          <cx:pt idx="1320">50.322580645161288</cx:pt>
          <cx:pt idx="1321">50.58064516129032</cx:pt>
          <cx:pt idx="1322">50.58064516129032</cx:pt>
          <cx:pt idx="1323">50.838709677419352</cx:pt>
          <cx:pt idx="1324">50.741935483870968</cx:pt>
          <cx:pt idx="1325">50.87096774193548</cx:pt>
          <cx:pt idx="1326">51.064516129032256</cx:pt>
          <cx:pt idx="1327">51.161290322580648</cx:pt>
          <cx:pt idx="1328">51</cx:pt>
          <cx:pt idx="1329">51.064516129032256</cx:pt>
          <cx:pt idx="1330">51.12903225806452</cx:pt>
          <cx:pt idx="1331">51</cx:pt>
          <cx:pt idx="1332">51.032258064516128</cx:pt>
          <cx:pt idx="1333">50.741935483870968</cx:pt>
          <cx:pt idx="1334">50.58064516129032</cx:pt>
          <cx:pt idx="1335">50.548387096774192</cx:pt>
          <cx:pt idx="1336">50.774193548387096</cx:pt>
          <cx:pt idx="1337">50.645161290322584</cx:pt>
          <cx:pt idx="1338">50.322580645161288</cx:pt>
          <cx:pt idx="1339">50.29032258064516</cx:pt>
          <cx:pt idx="1340">50.225806451612904</cx:pt>
          <cx:pt idx="1341">50.193548387096776</cx:pt>
          <cx:pt idx="1342">49.967741935483872</cx:pt>
          <cx:pt idx="1343">49.903225806451616</cx:pt>
          <cx:pt idx="1344">49.612903225806448</cx:pt>
          <cx:pt idx="1345">49.451612903225808</cx:pt>
          <cx:pt idx="1346">49.516129032258064</cx:pt>
          <cx:pt idx="1347">49.70967741935484</cx:pt>
          <cx:pt idx="1348">49.967741935483872</cx:pt>
          <cx:pt idx="1349">49.903225806451616</cx:pt>
          <cx:pt idx="1350">50.096774193548384</cx:pt>
          <cx:pt idx="1351">49.903225806451616</cx:pt>
          <cx:pt idx="1352">49.806451612903224</cx:pt>
          <cx:pt idx="1353">49.645161290322584</cx:pt>
          <cx:pt idx="1354">49.483870967741936</cx:pt>
          <cx:pt idx="1355">49.483870967741936</cx:pt>
          <cx:pt idx="1356">49.387096774193552</cx:pt>
          <cx:pt idx="1357">49.29032258064516</cx:pt>
          <cx:pt idx="1358">49.258064516129032</cx:pt>
          <cx:pt idx="1359">49.387096774193552</cx:pt>
          <cx:pt idx="1360">49.161290322580648</cx:pt>
          <cx:pt idx="1361">49.193548387096776</cx:pt>
          <cx:pt idx="1362">49.096774193548384</cx:pt>
          <cx:pt idx="1363">49.064516129032256</cx:pt>
          <cx:pt idx="1364">49.193548387096776</cx:pt>
          <cx:pt idx="1365">49.258064516129032</cx:pt>
          <cx:pt idx="1366">49.161290322580648</cx:pt>
          <cx:pt idx="1367">49.032258064516128</cx:pt>
          <cx:pt idx="1368">49</cx:pt>
          <cx:pt idx="1369">49</cx:pt>
          <cx:pt idx="1370">48.87096774193548</cx:pt>
          <cx:pt idx="1371">48.87096774193548</cx:pt>
          <cx:pt idx="1372">49.12903225806452</cx:pt>
          <cx:pt idx="1373">49.354838709677416</cx:pt>
          <cx:pt idx="1374">49.354838709677416</cx:pt>
          <cx:pt idx="1375">49.483870967741936</cx:pt>
          <cx:pt idx="1376">49.451612903225808</cx:pt>
          <cx:pt idx="1377">49.29032258064516</cx:pt>
          <cx:pt idx="1378">49.161290322580648</cx:pt>
          <cx:pt idx="1379">48.967741935483872</cx:pt>
          <cx:pt idx="1380">49.12903225806452</cx:pt>
          <cx:pt idx="1381">49.064516129032256</cx:pt>
          <cx:pt idx="1382">49</cx:pt>
          <cx:pt idx="1383">48.87096774193548</cx:pt>
          <cx:pt idx="1384">49.193548387096776</cx:pt>
          <cx:pt idx="1385">49.41935483870968</cx:pt>
          <cx:pt idx="1386">49.225806451612904</cx:pt>
          <cx:pt idx="1387">49.29032258064516</cx:pt>
          <cx:pt idx="1388">49.161290322580648</cx:pt>
          <cx:pt idx="1389">49.258064516129032</cx:pt>
          <cx:pt idx="1390">49.258064516129032</cx:pt>
          <cx:pt idx="1391">49.451612903225808</cx:pt>
          <cx:pt idx="1392">49.483870967741936</cx:pt>
          <cx:pt idx="1393">49.548387096774192</cx:pt>
          <cx:pt idx="1394">49.645161290322584</cx:pt>
          <cx:pt idx="1395">49.645161290322584</cx:pt>
          <cx:pt idx="1396">49.806451612903224</cx:pt>
          <cx:pt idx="1397">49.903225806451616</cx:pt>
          <cx:pt idx="1398">49.935483870967744</cx:pt>
          <cx:pt idx="1399">50.096774193548384</cx:pt>
          <cx:pt idx="1400">50.354838709677416</cx:pt>
          <cx:pt idx="1401">50.451612903225808</cx:pt>
          <cx:pt idx="1402">50.387096774193552</cx:pt>
          <cx:pt idx="1403">50.41935483870968</cx:pt>
          <cx:pt idx="1404">50.483870967741936</cx:pt>
          <cx:pt idx="1405">50.58064516129032</cx:pt>
          <cx:pt idx="1406">50.741935483870968</cx:pt>
          <cx:pt idx="1407">50.935483870967744</cx:pt>
          <cx:pt idx="1408">51.193548387096776</cx:pt>
          <cx:pt idx="1409">51.41935483870968</cx:pt>
          <cx:pt idx="1410">51.322580645161288</cx:pt>
          <cx:pt idx="1411">51.193548387096776</cx:pt>
          <cx:pt idx="1412">51.193548387096776</cx:pt>
          <cx:pt idx="1413">51.29032258064516</cx:pt>
          <cx:pt idx="1414">51.354838709677416</cx:pt>
          <cx:pt idx="1415">51.12903225806452</cx:pt>
          <cx:pt idx="1416">50.87096774193548</cx:pt>
          <cx:pt idx="1417">50.967741935483872</cx:pt>
          <cx:pt idx="1418">51.12903225806452</cx:pt>
          <cx:pt idx="1419">51.258064516129032</cx:pt>
          <cx:pt idx="1420">51.032258064516128</cx:pt>
          <cx:pt idx="1421">51.032258064516128</cx:pt>
          <cx:pt idx="1422">51.161290322580648</cx:pt>
          <cx:pt idx="1423">51.161290322580648</cx:pt>
          <cx:pt idx="1424">51.032258064516128</cx:pt>
          <cx:pt idx="1425">50.838709677419352</cx:pt>
          <cx:pt idx="1426">50.774193548387096</cx:pt>
          <cx:pt idx="1427">50.774193548387096</cx:pt>
          <cx:pt idx="1428">50.70967741935484</cx:pt>
          <cx:pt idx="1429">50.774193548387096</cx:pt>
          <cx:pt idx="1430">50.677419354838712</cx:pt>
          <cx:pt idx="1431">50.483870967741936</cx:pt>
          <cx:pt idx="1432">50.516129032258064</cx:pt>
          <cx:pt idx="1433">50.387096774193552</cx:pt>
          <cx:pt idx="1434">50.258064516129032</cx:pt>
          <cx:pt idx="1435">50.258064516129032</cx:pt>
          <cx:pt idx="1436">50.354838709677416</cx:pt>
          <cx:pt idx="1437">50.225806451612904</cx:pt>
          <cx:pt idx="1438">50.064516129032256</cx:pt>
          <cx:pt idx="1439">49.967741935483872</cx:pt>
          <cx:pt idx="1440">49.677419354838712</cx:pt>
          <cx:pt idx="1441">49.70967741935484</cx:pt>
          <cx:pt idx="1442">49.70967741935484</cx:pt>
          <cx:pt idx="1443">49.70967741935484</cx:pt>
          <cx:pt idx="1444">49.87096774193548</cx:pt>
          <cx:pt idx="1445">49.967741935483872</cx:pt>
          <cx:pt idx="1446">50.032258064516128</cx:pt>
          <cx:pt idx="1447">50.064516129032256</cx:pt>
          <cx:pt idx="1448">50.193548387096776</cx:pt>
          <cx:pt idx="1449">50.225806451612904</cx:pt>
          <cx:pt idx="1450">50.064516129032256</cx:pt>
          <cx:pt idx="1451">50.322580645161288</cx:pt>
          <cx:pt idx="1452">50.387096774193552</cx:pt>
          <cx:pt idx="1453">50.161290322580648</cx:pt>
          <cx:pt idx="1454">50.096774193548384</cx:pt>
          <cx:pt idx="1455">50.161290322580648</cx:pt>
          <cx:pt idx="1456">50.29032258064516</cx:pt>
          <cx:pt idx="1457">50.451612903225808</cx:pt>
          <cx:pt idx="1458">50.322580645161288</cx:pt>
          <cx:pt idx="1459">50.161290322580648</cx:pt>
          <cx:pt idx="1460">49.903225806451616</cx:pt>
          <cx:pt idx="1461">50.032258064516128</cx:pt>
          <cx:pt idx="1462">50.12903225806452</cx:pt>
          <cx:pt idx="1463">49.838709677419352</cx:pt>
          <cx:pt idx="1464">50</cx:pt>
          <cx:pt idx="1465">49.87096774193548</cx:pt>
          <cx:pt idx="1466">49.645161290322584</cx:pt>
          <cx:pt idx="1467">49.612903225806448</cx:pt>
          <cx:pt idx="1468">49.645161290322584</cx:pt>
          <cx:pt idx="1469">49.838709677419352</cx:pt>
          <cx:pt idx="1470">49.903225806451616</cx:pt>
          <cx:pt idx="1471">50.225806451612904</cx:pt>
          <cx:pt idx="1472">50.41935483870968</cx:pt>
          <cx:pt idx="1473">50.645161290322584</cx:pt>
          <cx:pt idx="1474">50.806451612903224</cx:pt>
          <cx:pt idx="1475">50.838709677419352</cx:pt>
          <cx:pt idx="1476">50.903225806451616</cx:pt>
          <cx:pt idx="1477">51.032258064516128</cx:pt>
          <cx:pt idx="1478">51.258064516129032</cx:pt>
          <cx:pt idx="1479">51.322580645161288</cx:pt>
          <cx:pt idx="1480">51.225806451612904</cx:pt>
          <cx:pt idx="1481">51.258064516129032</cx:pt>
          <cx:pt idx="1482">51.258064516129032</cx:pt>
          <cx:pt idx="1483">51.193548387096776</cx:pt>
          <cx:pt idx="1484">51.322580645161288</cx:pt>
          <cx:pt idx="1485">51.451612903225808</cx:pt>
          <cx:pt idx="1486">51.58064516129032</cx:pt>
          <cx:pt idx="1487">51.516129032258064</cx:pt>
          <cx:pt idx="1488">51.258064516129032</cx:pt>
          <cx:pt idx="1489">51.387096774193552</cx:pt>
          <cx:pt idx="1490">51.516129032258064</cx:pt>
          <cx:pt idx="1491">51.806451612903224</cx:pt>
          <cx:pt idx="1492">51.741935483870968</cx:pt>
          <cx:pt idx="1493">51.903225806451616</cx:pt>
          <cx:pt idx="1494">52.032258064516128</cx:pt>
          <cx:pt idx="1495">51.806451612903224</cx:pt>
          <cx:pt idx="1496">51.903225806451616</cx:pt>
          <cx:pt idx="1497">51.87096774193548</cx:pt>
          <cx:pt idx="1498">51.806451612903224</cx:pt>
          <cx:pt idx="1499">51.741935483870968</cx:pt>
          <cx:pt idx="1500">51.741935483870968</cx:pt>
          <cx:pt idx="1501">51.774193548387096</cx:pt>
          <cx:pt idx="1502">51.516129032258064</cx:pt>
          <cx:pt idx="1503">51.29032258064516</cx:pt>
          <cx:pt idx="1504">51.258064516129032</cx:pt>
          <cx:pt idx="1505">51.096774193548384</cx:pt>
          <cx:pt idx="1506">51.096774193548384</cx:pt>
          <cx:pt idx="1507">50.935483870967744</cx:pt>
          <cx:pt idx="1508">50.645161290322584</cx:pt>
          <cx:pt idx="1509">50.354838709677416</cx:pt>
          <cx:pt idx="1510">50.193548387096776</cx:pt>
          <cx:pt idx="1511">50</cx:pt>
          <cx:pt idx="1512">49.967741935483872</cx:pt>
          <cx:pt idx="1513">49.774193548387096</cx:pt>
          <cx:pt idx="1514">49.838709677419352</cx:pt>
          <cx:pt idx="1515">49.774193548387096</cx:pt>
          <cx:pt idx="1516">49.612903225806448</cx:pt>
          <cx:pt idx="1517">49.612903225806448</cx:pt>
          <cx:pt idx="1518">49.612903225806448</cx:pt>
          <cx:pt idx="1519">49.806451612903224</cx:pt>
          <cx:pt idx="1520">49.548387096774192</cx:pt>
          <cx:pt idx="1521">49.516129032258064</cx:pt>
          <cx:pt idx="1522">49.41935483870968</cx:pt>
          <cx:pt idx="1523">49.483870967741936</cx:pt>
          <cx:pt idx="1524">49.29032258064516</cx:pt>
          <cx:pt idx="1525">49.41935483870968</cx:pt>
          <cx:pt idx="1526">49.41935483870968</cx:pt>
          <cx:pt idx="1527">49.483870967741936</cx:pt>
          <cx:pt idx="1528">49.451612903225808</cx:pt>
          <cx:pt idx="1529">49.354838709677416</cx:pt>
          <cx:pt idx="1530">49.516129032258064</cx:pt>
          <cx:pt idx="1531">49.483870967741936</cx:pt>
          <cx:pt idx="1532">49.451612903225808</cx:pt>
          <cx:pt idx="1533">49.516129032258064</cx:pt>
          <cx:pt idx="1534">49.774193548387096</cx:pt>
          <cx:pt idx="1535">49.58064516129032</cx:pt>
          <cx:pt idx="1536">49.677419354838712</cx:pt>
          <cx:pt idx="1537">49.677419354838712</cx:pt>
          <cx:pt idx="1538">49.806451612903224</cx:pt>
          <cx:pt idx="1539">49.967741935483872</cx:pt>
          <cx:pt idx="1540">50.064516129032256</cx:pt>
          <cx:pt idx="1541">49.935483870967744</cx:pt>
          <cx:pt idx="1542">50.225806451612904</cx:pt>
          <cx:pt idx="1543">50.225806451612904</cx:pt>
          <cx:pt idx="1544">50.41935483870968</cx:pt>
          <cx:pt idx="1545">50.451612903225808</cx:pt>
          <cx:pt idx="1546">50.483870967741936</cx:pt>
          <cx:pt idx="1547">50.645161290322584</cx:pt>
          <cx:pt idx="1548">50.70967741935484</cx:pt>
          <cx:pt idx="1549">50.677419354838712</cx:pt>
          <cx:pt idx="1550">50.516129032258064</cx:pt>
          <cx:pt idx="1551">50.741935483870968</cx:pt>
          <cx:pt idx="1552">50.87096774193548</cx:pt>
          <cx:pt idx="1553">50.935483870967744</cx:pt>
          <cx:pt idx="1554">50.677419354838712</cx:pt>
          <cx:pt idx="1555">50.87096774193548</cx:pt>
          <cx:pt idx="1556">50.838709677419352</cx:pt>
          <cx:pt idx="1557">50.967741935483872</cx:pt>
          <cx:pt idx="1558">50.87096774193548</cx:pt>
          <cx:pt idx="1559">51.12903225806452</cx:pt>
          <cx:pt idx="1560">51.29032258064516</cx:pt>
          <cx:pt idx="1561">51.193548387096776</cx:pt>
          <cx:pt idx="1562">51.225806451612904</cx:pt>
          <cx:pt idx="1563">51.032258064516128</cx:pt>
          <cx:pt idx="1564">51.161290322580648</cx:pt>
          <cx:pt idx="1565">50.935483870967744</cx:pt>
          <cx:pt idx="1566">51.193548387096776</cx:pt>
          <cx:pt idx="1567">51.096774193548384</cx:pt>
          <cx:pt idx="1568">51.096774193548384</cx:pt>
          <cx:pt idx="1569">51.032258064516128</cx:pt>
          <cx:pt idx="1570">50.935483870967744</cx:pt>
          <cx:pt idx="1571">51.032258064516128</cx:pt>
          <cx:pt idx="1572">51.032258064516128</cx:pt>
          <cx:pt idx="1573">50.903225806451616</cx:pt>
          <cx:pt idx="1574">51.064516129032256</cx:pt>
          <cx:pt idx="1575">51</cx:pt>
          <cx:pt idx="1576">50.87096774193548</cx:pt>
          <cx:pt idx="1577">50.70967741935484</cx:pt>
          <cx:pt idx="1578">50.677419354838712</cx:pt>
          <cx:pt idx="1579">50.612903225806448</cx:pt>
          <cx:pt idx="1580">50.87096774193548</cx:pt>
          <cx:pt idx="1581">50.838709677419352</cx:pt>
          <cx:pt idx="1582">50.838709677419352</cx:pt>
          <cx:pt idx="1583">50.612903225806448</cx:pt>
          <cx:pt idx="1584">50.451612903225808</cx:pt>
          <cx:pt idx="1585">50.58064516129032</cx:pt>
          <cx:pt idx="1586">50.58064516129032</cx:pt>
          <cx:pt idx="1587">50.41935483870968</cx:pt>
          <cx:pt idx="1588">50.387096774193552</cx:pt>
          <cx:pt idx="1589">50.612903225806448</cx:pt>
          <cx:pt idx="1590">50.41935483870968</cx:pt>
          <cx:pt idx="1591">50.451612903225808</cx:pt>
          <cx:pt idx="1592">50.516129032258064</cx:pt>
          <cx:pt idx="1593">50.29032258064516</cx:pt>
          <cx:pt idx="1594">50.483870967741936</cx:pt>
          <cx:pt idx="1595">50.483870967741936</cx:pt>
          <cx:pt idx="1596">50.741935483870968</cx:pt>
          <cx:pt idx="1597">50.58064516129032</cx:pt>
          <cx:pt idx="1598">50.58064516129032</cx:pt>
          <cx:pt idx="1599">50.548387096774192</cx:pt>
          <cx:pt idx="1600">50.516129032258064</cx:pt>
          <cx:pt idx="1601">50.70967741935484</cx:pt>
          <cx:pt idx="1602">50.516129032258064</cx:pt>
          <cx:pt idx="1603">50.806451612903224</cx:pt>
          <cx:pt idx="1604">50.903225806451616</cx:pt>
          <cx:pt idx="1605">50.935483870967744</cx:pt>
          <cx:pt idx="1606">50.806451612903224</cx:pt>
          <cx:pt idx="1607">51</cx:pt>
          <cx:pt idx="1608">50.967741935483872</cx:pt>
          <cx:pt idx="1609">50.903225806451616</cx:pt>
          <cx:pt idx="1610">50.774193548387096</cx:pt>
          <cx:pt idx="1611">50.548387096774192</cx:pt>
          <cx:pt idx="1612">50.774193548387096</cx:pt>
          <cx:pt idx="1613">50.58064516129032</cx:pt>
          <cx:pt idx="1614">50.612903225806448</cx:pt>
          <cx:pt idx="1615">50.677419354838712</cx:pt>
          <cx:pt idx="1616">50.838709677419352</cx:pt>
          <cx:pt idx="1617">50.806451612903224</cx:pt>
          <cx:pt idx="1618">51.032258064516128</cx:pt>
          <cx:pt idx="1619">51.096774193548384</cx:pt>
          <cx:pt idx="1620">50.87096774193548</cx:pt>
          <cx:pt idx="1621">51.096774193548384</cx:pt>
          <cx:pt idx="1622">51.032258064516128</cx:pt>
          <cx:pt idx="1623">50.741935483870968</cx:pt>
          <cx:pt idx="1624">50.677419354838712</cx:pt>
          <cx:pt idx="1625">50.645161290322584</cx:pt>
          <cx:pt idx="1626">50.677419354838712</cx:pt>
          <cx:pt idx="1627">50.516129032258064</cx:pt>
          <cx:pt idx="1628">50.548387096774192</cx:pt>
          <cx:pt idx="1629">50.451612903225808</cx:pt>
          <cx:pt idx="1630">50.41935483870968</cx:pt>
          <cx:pt idx="1631">50.548387096774192</cx:pt>
          <cx:pt idx="1632">50.58064516129032</cx:pt>
          <cx:pt idx="1633">50.677419354838712</cx:pt>
          <cx:pt idx="1634">50.387096774193552</cx:pt>
          <cx:pt idx="1635">50.225806451612904</cx:pt>
          <cx:pt idx="1636">50.354838709677416</cx:pt>
          <cx:pt idx="1637">50.483870967741936</cx:pt>
          <cx:pt idx="1638">50.29032258064516</cx:pt>
          <cx:pt idx="1639">50.41935483870968</cx:pt>
          <cx:pt idx="1640">50.29032258064516</cx:pt>
          <cx:pt idx="1641">50.29032258064516</cx:pt>
          <cx:pt idx="1642">50.354838709677416</cx:pt>
          <cx:pt idx="1643">50.451612903225808</cx:pt>
          <cx:pt idx="1644">50.548387096774192</cx:pt>
          <cx:pt idx="1645">50.645161290322584</cx:pt>
          <cx:pt idx="1646">50.483870967741936</cx:pt>
          <cx:pt idx="1647">50.41935483870968</cx:pt>
          <cx:pt idx="1648">50.41935483870968</cx:pt>
          <cx:pt idx="1649">50.451612903225808</cx:pt>
          <cx:pt idx="1650">50.387096774193552</cx:pt>
          <cx:pt idx="1651">50.58064516129032</cx:pt>
          <cx:pt idx="1652">50.548387096774192</cx:pt>
          <cx:pt idx="1653">50.677419354838712</cx:pt>
          <cx:pt idx="1654">50.806451612903224</cx:pt>
          <cx:pt idx="1655">50.838709677419352</cx:pt>
          <cx:pt idx="1656">50.677419354838712</cx:pt>
          <cx:pt idx="1657">50.451612903225808</cx:pt>
          <cx:pt idx="1658">50.645161290322584</cx:pt>
          <cx:pt idx="1659">50.645161290322584</cx:pt>
          <cx:pt idx="1660">50.87096774193548</cx:pt>
          <cx:pt idx="1661">50.838709677419352</cx:pt>
          <cx:pt idx="1662">50.70967741935484</cx:pt>
          <cx:pt idx="1663">50.41935483870968</cx:pt>
          <cx:pt idx="1664">50.516129032258064</cx:pt>
          <cx:pt idx="1665">50.58064516129032</cx:pt>
          <cx:pt idx="1666">50.677419354838712</cx:pt>
          <cx:pt idx="1667">50.387096774193552</cx:pt>
          <cx:pt idx="1668">50.483870967741936</cx:pt>
          <cx:pt idx="1669">50.451612903225808</cx:pt>
          <cx:pt idx="1670">50.645161290322584</cx:pt>
          <cx:pt idx="1671">50.774193548387096</cx:pt>
          <cx:pt idx="1672">50.87096774193548</cx:pt>
          <cx:pt idx="1673">50.806451612903224</cx:pt>
          <cx:pt idx="1674">50.806451612903224</cx:pt>
          <cx:pt idx="1675">50.935483870967744</cx:pt>
          <cx:pt idx="1676">50.741935483870968</cx:pt>
          <cx:pt idx="1677">50.838709677419352</cx:pt>
          <cx:pt idx="1678">50.87096774193548</cx:pt>
          <cx:pt idx="1679">50.58064516129032</cx:pt>
          <cx:pt idx="1680">50.322580645161288</cx:pt>
          <cx:pt idx="1681">50.354838709677416</cx:pt>
          <cx:pt idx="1682">50.225806451612904</cx:pt>
          <cx:pt idx="1683">50.096774193548384</cx:pt>
          <cx:pt idx="1684">50.064516129032256</cx:pt>
          <cx:pt idx="1685">50.258064516129032</cx:pt>
          <cx:pt idx="1686">50.41935483870968</cx:pt>
          <cx:pt idx="1687">50.58064516129032</cx:pt>
          <cx:pt idx="1688">50.645161290322584</cx:pt>
          <cx:pt idx="1689">50.612903225806448</cx:pt>
          <cx:pt idx="1690">50.612903225806448</cx:pt>
          <cx:pt idx="1691">50.548387096774192</cx:pt>
          <cx:pt idx="1692">50.612903225806448</cx:pt>
          <cx:pt idx="1693">50.645161290322584</cx:pt>
          <cx:pt idx="1694">50.903225806451616</cx:pt>
          <cx:pt idx="1695">50.677419354838712</cx:pt>
          <cx:pt idx="1696">50.935483870967744</cx:pt>
          <cx:pt idx="1697">50.935483870967744</cx:pt>
          <cx:pt idx="1698">51.032258064516128</cx:pt>
          <cx:pt idx="1699">50.967741935483872</cx:pt>
          <cx:pt idx="1700">51.161290322580648</cx:pt>
          <cx:pt idx="1701">51.161290322580648</cx:pt>
          <cx:pt idx="1702">51.258064516129032</cx:pt>
          <cx:pt idx="1703">51.41935483870968</cx:pt>
          <cx:pt idx="1704">51.58064516129032</cx:pt>
          <cx:pt idx="1705">51.58064516129032</cx:pt>
          <cx:pt idx="1706">51.548387096774192</cx:pt>
          <cx:pt idx="1707">51.87096774193548</cx:pt>
          <cx:pt idx="1708">52.032258064516128</cx:pt>
          <cx:pt idx="1709">52</cx:pt>
          <cx:pt idx="1710">52.29032258064516</cx:pt>
          <cx:pt idx="1711">52.451612903225808</cx:pt>
          <cx:pt idx="1712">52.645161290322584</cx:pt>
          <cx:pt idx="1713">52.70967741935484</cx:pt>
          <cx:pt idx="1714">52.774193548387096</cx:pt>
          <cx:pt idx="1715">52.741935483870968</cx:pt>
          <cx:pt idx="1716">52.645161290322584</cx:pt>
          <cx:pt idx="1717">52.645161290322584</cx:pt>
          <cx:pt idx="1718">52.741935483870968</cx:pt>
          <cx:pt idx="1719">52.838709677419352</cx:pt>
          <cx:pt idx="1720">52.806451612903224</cx:pt>
          <cx:pt idx="1721">52.903225806451616</cx:pt>
          <cx:pt idx="1722">52.967741935483872</cx:pt>
          <cx:pt idx="1723">53</cx:pt>
          <cx:pt idx="1724">53.064516129032256</cx:pt>
          <cx:pt idx="1725">53.12903225806452</cx:pt>
          <cx:pt idx="1726">53.451612903225808</cx:pt>
          <cx:pt idx="1727">53.387096774193552</cx:pt>
          <cx:pt idx="1728">53.451612903225808</cx:pt>
          <cx:pt idx="1729">53.58064516129032</cx:pt>
          <cx:pt idx="1730">53.58064516129032</cx:pt>
          <cx:pt idx="1731">53.548387096774192</cx:pt>
          <cx:pt idx="1732">53.483870967741936</cx:pt>
          <cx:pt idx="1733">53.41935483870968</cx:pt>
          <cx:pt idx="1734">53.354838709677416</cx:pt>
          <cx:pt idx="1735">53.387096774193552</cx:pt>
          <cx:pt idx="1736">53.29032258064516</cx:pt>
          <cx:pt idx="1737">53.322580645161288</cx:pt>
          <cx:pt idx="1738">53.322580645161288</cx:pt>
          <cx:pt idx="1739">53.258064516129032</cx:pt>
          <cx:pt idx="1740">53.29032258064516</cx:pt>
          <cx:pt idx="1741">53.225806451612904</cx:pt>
          <cx:pt idx="1742">53.258064516129032</cx:pt>
          <cx:pt idx="1743">52.967741935483872</cx:pt>
          <cx:pt idx="1744">52.806451612903224</cx:pt>
          <cx:pt idx="1745">52.645161290322584</cx:pt>
          <cx:pt idx="1746">52.516129032258064</cx:pt>
          <cx:pt idx="1747">52.322580645161288</cx:pt>
          <cx:pt idx="1748">52.161290322580648</cx:pt>
          <cx:pt idx="1749">51.87096774193548</cx:pt>
          <cx:pt idx="1750">51.677419354838712</cx:pt>
          <cx:pt idx="1751">51.70967741935484</cx:pt>
          <cx:pt idx="1752">51.483870967741936</cx:pt>
          <cx:pt idx="1753">51.451612903225808</cx:pt>
          <cx:pt idx="1754">51.322580645161288</cx:pt>
          <cx:pt idx="1755">51.225806451612904</cx:pt>
          <cx:pt idx="1756">50.967741935483872</cx:pt>
          <cx:pt idx="1757">50.645161290322584</cx:pt>
          <cx:pt idx="1758">50.70967741935484</cx:pt>
          <cx:pt idx="1759">50.548387096774192</cx:pt>
          <cx:pt idx="1760">50.354838709677416</cx:pt>
          <cx:pt idx="1761">50.29032258064516</cx:pt>
          <cx:pt idx="1762">50.29032258064516</cx:pt>
          <cx:pt idx="1763">50.161290322580648</cx:pt>
          <cx:pt idx="1764">50.161290322580648</cx:pt>
          <cx:pt idx="1765">49.967741935483872</cx:pt>
          <cx:pt idx="1766">49.967741935483872</cx:pt>
          <cx:pt idx="1767">49.806451612903224</cx:pt>
          <cx:pt idx="1768">49.87096774193548</cx:pt>
          <cx:pt idx="1769">49.58064516129032</cx:pt>
          <cx:pt idx="1770">49.677419354838712</cx:pt>
          <cx:pt idx="1771">49.612903225806448</cx:pt>
          <cx:pt idx="1772">49.516129032258064</cx:pt>
          <cx:pt idx="1773">49.29032258064516</cx:pt>
          <cx:pt idx="1774">49.322580645161288</cx:pt>
          <cx:pt idx="1775">49.387096774193552</cx:pt>
          <cx:pt idx="1776">49.58064516129032</cx:pt>
          <cx:pt idx="1777">49.548387096774192</cx:pt>
          <cx:pt idx="1778">49.838709677419352</cx:pt>
          <cx:pt idx="1779">49.967741935483872</cx:pt>
          <cx:pt idx="1780">50.225806451612904</cx:pt>
          <cx:pt idx="1781">50.451612903225808</cx:pt>
          <cx:pt idx="1782">50.193548387096776</cx:pt>
          <cx:pt idx="1783">50.451612903225808</cx:pt>
          <cx:pt idx="1784">50.193548387096776</cx:pt>
          <cx:pt idx="1785">50.096774193548384</cx:pt>
          <cx:pt idx="1786">50</cx:pt>
          <cx:pt idx="1787">50.193548387096776</cx:pt>
          <cx:pt idx="1788">50.354838709677416</cx:pt>
          <cx:pt idx="1789">50.12903225806452</cx:pt>
          <cx:pt idx="1790">50.064516129032256</cx:pt>
          <cx:pt idx="1791">50.322580645161288</cx:pt>
          <cx:pt idx="1792">50.161290322580648</cx:pt>
          <cx:pt idx="1793">50.161290322580648</cx:pt>
          <cx:pt idx="1794">50.032258064516128</cx:pt>
          <cx:pt idx="1795">50.096774193548384</cx:pt>
          <cx:pt idx="1796">50.193548387096776</cx:pt>
          <cx:pt idx="1797">50.161290322580648</cx:pt>
          <cx:pt idx="1798">50.29032258064516</cx:pt>
          <cx:pt idx="1799">50.032258064516128</cx:pt>
          <cx:pt idx="1800">50.322580645161288</cx:pt>
          <cx:pt idx="1801">50.322580645161288</cx:pt>
          <cx:pt idx="1802">50.096774193548384</cx:pt>
          <cx:pt idx="1803">50.064516129032256</cx:pt>
          <cx:pt idx="1804">50.12903225806452</cx:pt>
          <cx:pt idx="1805">50.322580645161288</cx:pt>
          <cx:pt idx="1806">50.516129032258064</cx:pt>
          <cx:pt idx="1807">50.41935483870968</cx:pt>
          <cx:pt idx="1808">50.645161290322584</cx:pt>
          <cx:pt idx="1809">50.612903225806448</cx:pt>
          <cx:pt idx="1810">50.516129032258064</cx:pt>
          <cx:pt idx="1811">50.225806451612904</cx:pt>
          <cx:pt idx="1812">50.096774193548384</cx:pt>
          <cx:pt idx="1813">50.193548387096776</cx:pt>
          <cx:pt idx="1814">50.193548387096776</cx:pt>
          <cx:pt idx="1815">50.322580645161288</cx:pt>
          <cx:pt idx="1816">50.322580645161288</cx:pt>
          <cx:pt idx="1817">50.258064516129032</cx:pt>
          <cx:pt idx="1818">50</cx:pt>
          <cx:pt idx="1819">49.838709677419352</cx:pt>
          <cx:pt idx="1820">49.903225806451616</cx:pt>
          <cx:pt idx="1821">49.87096774193548</cx:pt>
          <cx:pt idx="1822">49.806451612903224</cx:pt>
          <cx:pt idx="1823">49.967741935483872</cx:pt>
          <cx:pt idx="1824">49.774193548387096</cx:pt>
          <cx:pt idx="1825">49.806451612903224</cx:pt>
          <cx:pt idx="1826">49.645161290322584</cx:pt>
          <cx:pt idx="1827">49.70967741935484</cx:pt>
          <cx:pt idx="1828">49.548387096774192</cx:pt>
          <cx:pt idx="1829">49.677419354838712</cx:pt>
          <cx:pt idx="1830">49.806451612903224</cx:pt>
          <cx:pt idx="1831">49.806451612903224</cx:pt>
          <cx:pt idx="1832">49.516129032258064</cx:pt>
          <cx:pt idx="1833">49.774193548387096</cx:pt>
          <cx:pt idx="1834">49.903225806451616</cx:pt>
          <cx:pt idx="1835">49.935483870967744</cx:pt>
          <cx:pt idx="1836">49.774193548387096</cx:pt>
          <cx:pt idx="1837">49.483870967741936</cx:pt>
          <cx:pt idx="1838">49.451612903225808</cx:pt>
          <cx:pt idx="1839">49.193548387096776</cx:pt>
          <cx:pt idx="1840">49.032258064516128</cx:pt>
          <cx:pt idx="1841">49.193548387096776</cx:pt>
          <cx:pt idx="1842">49.451612903225808</cx:pt>
          <cx:pt idx="1843">49.41935483870968</cx:pt>
          <cx:pt idx="1844">49.516129032258064</cx:pt>
          <cx:pt idx="1845">49.548387096774192</cx:pt>
          <cx:pt idx="1846">49.516129032258064</cx:pt>
          <cx:pt idx="1847">49.516129032258064</cx:pt>
          <cx:pt idx="1848">49.774193548387096</cx:pt>
          <cx:pt idx="1849">50</cx:pt>
          <cx:pt idx="1850">50.29032258064516</cx:pt>
          <cx:pt idx="1851">50.12903225806452</cx:pt>
          <cx:pt idx="1852">50.225806451612904</cx:pt>
          <cx:pt idx="1853">50</cx:pt>
          <cx:pt idx="1854">49.806451612903224</cx:pt>
          <cx:pt idx="1855">49.903225806451616</cx:pt>
          <cx:pt idx="1856">50.161290322580648</cx:pt>
          <cx:pt idx="1857">50.225806451612904</cx:pt>
          <cx:pt idx="1858">50.322580645161288</cx:pt>
          <cx:pt idx="1859">50.41935483870968</cx:pt>
          <cx:pt idx="1860">50.354838709677416</cx:pt>
          <cx:pt idx="1861">50.483870967741936</cx:pt>
          <cx:pt idx="1862">50.161290322580648</cx:pt>
          <cx:pt idx="1863">50.12903225806452</cx:pt>
          <cx:pt idx="1864">49.903225806451616</cx:pt>
          <cx:pt idx="1865">49.903225806451616</cx:pt>
          <cx:pt idx="1866">50</cx:pt>
          <cx:pt idx="1867">50.161290322580648</cx:pt>
          <cx:pt idx="1868">50.451612903225808</cx:pt>
          <cx:pt idx="1869">50.387096774193552</cx:pt>
          <cx:pt idx="1870">50.58064516129032</cx:pt>
          <cx:pt idx="1871">50.645161290322584</cx:pt>
          <cx:pt idx="1872">50.451612903225808</cx:pt>
          <cx:pt idx="1873">50.193548387096776</cx:pt>
          <cx:pt idx="1874">50.354838709677416</cx:pt>
          <cx:pt idx="1875">50.258064516129032</cx:pt>
          <cx:pt idx="1876">50.096774193548384</cx:pt>
          <cx:pt idx="1877">50.096774193548384</cx:pt>
          <cx:pt idx="1878">50.064516129032256</cx:pt>
          <cx:pt idx="1879">50.064516129032256</cx:pt>
          <cx:pt idx="1880">50.032258064516128</cx:pt>
          <cx:pt idx="1881">49.967741935483872</cx:pt>
          <cx:pt idx="1882">50.225806451612904</cx:pt>
          <cx:pt idx="1883">50.12903225806452</cx:pt>
          <cx:pt idx="1884">50.225806451612904</cx:pt>
          <cx:pt idx="1885">50.41935483870968</cx:pt>
          <cx:pt idx="1886">50.41935483870968</cx:pt>
          <cx:pt idx="1887">50.354838709677416</cx:pt>
          <cx:pt idx="1888">50.451612903225808</cx:pt>
          <cx:pt idx="1889">50.387096774193552</cx:pt>
          <cx:pt idx="1890">50.483870967741936</cx:pt>
          <cx:pt idx="1891">50.516129032258064</cx:pt>
          <cx:pt idx="1892">50.516129032258064</cx:pt>
          <cx:pt idx="1893">50.741935483870968</cx:pt>
          <cx:pt idx="1894">51.032258064516128</cx:pt>
          <cx:pt idx="1895">51.225806451612904</cx:pt>
          <cx:pt idx="1896">51.258064516129032</cx:pt>
          <cx:pt idx="1897">51.322580645161288</cx:pt>
          <cx:pt idx="1898">51.29032258064516</cx:pt>
          <cx:pt idx="1899">51.193548387096776</cx:pt>
          <cx:pt idx="1900">51.41935483870968</cx:pt>
          <cx:pt idx="1901">51.483870967741936</cx:pt>
          <cx:pt idx="1902">51.58064516129032</cx:pt>
          <cx:pt idx="1903">51.838709677419352</cx:pt>
          <cx:pt idx="1904">52.096774193548384</cx:pt>
          <cx:pt idx="1905">52.12903225806452</cx:pt>
          <cx:pt idx="1906">52.322580645161288</cx:pt>
          <cx:pt idx="1907">52.387096774193552</cx:pt>
          <cx:pt idx="1908">52.58064516129032</cx:pt>
          <cx:pt idx="1909">52.774193548387096</cx:pt>
          <cx:pt idx="1910">52.70967741935484</cx:pt>
          <cx:pt idx="1911">52.838709677419352</cx:pt>
          <cx:pt idx="1912">52.838709677419352</cx:pt>
          <cx:pt idx="1913">52.806451612903224</cx:pt>
          <cx:pt idx="1914">53.064516129032256</cx:pt>
          <cx:pt idx="1915">53.193548387096776</cx:pt>
          <cx:pt idx="1916">53.322580645161288</cx:pt>
          <cx:pt idx="1917">53.451612903225808</cx:pt>
          <cx:pt idx="1918">53.516129032258064</cx:pt>
          <cx:pt idx="1919">53.451612903225808</cx:pt>
          <cx:pt idx="1920">53.483870967741936</cx:pt>
          <cx:pt idx="1921">53.451612903225808</cx:pt>
          <cx:pt idx="1922">53.387096774193552</cx:pt>
          <cx:pt idx="1923">53.322580645161288</cx:pt>
          <cx:pt idx="1924">53.354838709677416</cx:pt>
          <cx:pt idx="1925">53.322580645161288</cx:pt>
          <cx:pt idx="1926">53.354838709677416</cx:pt>
          <cx:pt idx="1927">53.41935483870968</cx:pt>
          <cx:pt idx="1928">53.451612903225808</cx:pt>
          <cx:pt idx="1929">53.516129032258064</cx:pt>
          <cx:pt idx="1930">53.58064516129032</cx:pt>
          <cx:pt idx="1931">53.354838709677416</cx:pt>
          <cx:pt idx="1932">53.064516129032256</cx:pt>
          <cx:pt idx="1933">52.967741935483872</cx:pt>
          <cx:pt idx="1934">52.967741935483872</cx:pt>
          <cx:pt idx="1935">53</cx:pt>
          <cx:pt idx="1936">52.967741935483872</cx:pt>
          <cx:pt idx="1937">52.774193548387096</cx:pt>
          <cx:pt idx="1938">52.70967741935484</cx:pt>
          <cx:pt idx="1939">52.451612903225808</cx:pt>
          <cx:pt idx="1940">52.193548387096776</cx:pt>
          <cx:pt idx="1941">52.064516129032256</cx:pt>
          <cx:pt idx="1942">51.838709677419352</cx:pt>
          <cx:pt idx="1943">51.838709677419352</cx:pt>
          <cx:pt idx="1944">51.87096774193548</cx:pt>
          <cx:pt idx="1945">51.87096774193548</cx:pt>
          <cx:pt idx="1946">51.70967741935484</cx:pt>
          <cx:pt idx="1947">51.58064516129032</cx:pt>
          <cx:pt idx="1948">51.612903225806448</cx:pt>
          <cx:pt idx="1949">51.645161290322584</cx:pt>
          <cx:pt idx="1950">51.548387096774192</cx:pt>
          <cx:pt idx="1951">51.451612903225808</cx:pt>
          <cx:pt idx="1952">51.29032258064516</cx:pt>
          <cx:pt idx="1953">51.225806451612904</cx:pt>
          <cx:pt idx="1954">51.225806451612904</cx:pt>
          <cx:pt idx="1955">51.161290322580648</cx:pt>
          <cx:pt idx="1956">51.12903225806452</cx:pt>
          <cx:pt idx="1957">51</cx:pt>
          <cx:pt idx="1958">50.87096774193548</cx:pt>
          <cx:pt idx="1959">50.70967741935484</cx:pt>
          <cx:pt idx="1960">50.645161290322584</cx:pt>
          <cx:pt idx="1961">50.645161290322584</cx:pt>
          <cx:pt idx="1962">50.903225806451616</cx:pt>
          <cx:pt idx="1963">51.064516129032256</cx:pt>
          <cx:pt idx="1964">50.903225806451616</cx:pt>
          <cx:pt idx="1965">50.774193548387096</cx:pt>
          <cx:pt idx="1966">50.806451612903224</cx:pt>
          <cx:pt idx="1967">50.645161290322584</cx:pt>
          <cx:pt idx="1968">50.70967741935484</cx:pt>
          <cx:pt idx="1969">50.806451612903224</cx:pt>
          <cx:pt idx="1970">50.903225806451616</cx:pt>
          <cx:pt idx="1971">51.225806451612904</cx:pt>
          <cx:pt idx="1972">51.161290322580648</cx:pt>
          <cx:pt idx="1973">51.387096774193552</cx:pt>
          <cx:pt idx="1974">51.451612903225808</cx:pt>
          <cx:pt idx="1975">51.451612903225808</cx:pt>
          <cx:pt idx="1976">51.225806451612904</cx:pt>
          <cx:pt idx="1977">51.29032258064516</cx:pt>
          <cx:pt idx="1978">51.12903225806452</cx:pt>
          <cx:pt idx="1979">51.12903225806452</cx:pt>
          <cx:pt idx="1980">51.032258064516128</cx:pt>
          <cx:pt idx="1981">51</cx:pt>
          <cx:pt idx="1982">50.806451612903224</cx:pt>
          <cx:pt idx="1983">50.967741935483872</cx:pt>
          <cx:pt idx="1984">50.903225806451616</cx:pt>
          <cx:pt idx="1985">50.967741935483872</cx:pt>
          <cx:pt idx="1986">51.064516129032256</cx:pt>
          <cx:pt idx="1987">51</cx:pt>
          <cx:pt idx="1988">51.12903225806452</cx:pt>
          <cx:pt idx="1989">50.967741935483872</cx:pt>
          <cx:pt idx="1990">50.87096774193548</cx:pt>
          <cx:pt idx="1991">50.935483870967744</cx:pt>
          <cx:pt idx="1992">50.903225806451616</cx:pt>
          <cx:pt idx="1993">50.677419354838712</cx:pt>
          <cx:pt idx="1994">50.483870967741936</cx:pt>
          <cx:pt idx="1995">50.741935483870968</cx:pt>
          <cx:pt idx="1996">50.774193548387096</cx:pt>
          <cx:pt idx="1997">50.548387096774192</cx:pt>
          <cx:pt idx="1998">50.645161290322584</cx:pt>
          <cx:pt idx="1999">50.677419354838712</cx:pt>
          <cx:pt idx="2000">50.677419354838712</cx:pt>
          <cx:pt idx="2001">50.741935483870968</cx:pt>
          <cx:pt idx="2002">50.70967741935484</cx:pt>
          <cx:pt idx="2003">50.87096774193548</cx:pt>
          <cx:pt idx="2004">50.548387096774192</cx:pt>
          <cx:pt idx="2005">50.258064516129032</cx:pt>
          <cx:pt idx="2006">50.258064516129032</cx:pt>
          <cx:pt idx="2007">50.516129032258064</cx:pt>
          <cx:pt idx="2008">50.387096774193552</cx:pt>
          <cx:pt idx="2009">50.58064516129032</cx:pt>
          <cx:pt idx="2010">50.58064516129032</cx:pt>
          <cx:pt idx="2011">50.354838709677416</cx:pt>
          <cx:pt idx="2012">50.483870967741936</cx:pt>
          <cx:pt idx="2013">50.58064516129032</cx:pt>
          <cx:pt idx="2014">50.58064516129032</cx:pt>
          <cx:pt idx="2015">50.741935483870968</cx:pt>
          <cx:pt idx="2016">50.516129032258064</cx:pt>
          <cx:pt idx="2017">50.483870967741936</cx:pt>
          <cx:pt idx="2018">50.41935483870968</cx:pt>
          <cx:pt idx="2019">50.322580645161288</cx:pt>
          <cx:pt idx="2020">50.29032258064516</cx:pt>
          <cx:pt idx="2021">50.258064516129032</cx:pt>
          <cx:pt idx="2022">50.225806451612904</cx:pt>
          <cx:pt idx="2023">50.064516129032256</cx:pt>
          <cx:pt idx="2024">50.096774193548384</cx:pt>
          <cx:pt idx="2025">50.354838709677416</cx:pt>
          <cx:pt idx="2026">50.161290322580648</cx:pt>
          <cx:pt idx="2027">50.161290322580648</cx:pt>
          <cx:pt idx="2028">50.29032258064516</cx:pt>
          <cx:pt idx="2029">50.12903225806452</cx:pt>
          <cx:pt idx="2030">49.903225806451616</cx:pt>
          <cx:pt idx="2031">49.677419354838712</cx:pt>
          <cx:pt idx="2032">49.70967741935484</cx:pt>
          <cx:pt idx="2033">49.548387096774192</cx:pt>
          <cx:pt idx="2034">49.516129032258064</cx:pt>
          <cx:pt idx="2035">49.741935483870968</cx:pt>
          <cx:pt idx="2036">49.967741935483872</cx:pt>
          <cx:pt idx="2037">49.838709677419352</cx:pt>
          <cx:pt idx="2038">49.838709677419352</cx:pt>
          <cx:pt idx="2039">49.903225806451616</cx:pt>
          <cx:pt idx="2040">49.806451612903224</cx:pt>
          <cx:pt idx="2041">49.806451612903224</cx:pt>
          <cx:pt idx="2042">50</cx:pt>
          <cx:pt idx="2043">49.838709677419352</cx:pt>
          <cx:pt idx="2044">49.935483870967744</cx:pt>
          <cx:pt idx="2045">49.87096774193548</cx:pt>
          <cx:pt idx="2046">49.645161290322584</cx:pt>
          <cx:pt idx="2047">49.806451612903224</cx:pt>
          <cx:pt idx="2048">49.741935483870968</cx:pt>
          <cx:pt idx="2049">49.806451612903224</cx:pt>
          <cx:pt idx="2050">49.70967741935484</cx:pt>
          <cx:pt idx="2051">49.806451612903224</cx:pt>
          <cx:pt idx="2052">49.935483870967744</cx:pt>
          <cx:pt idx="2053">49.741935483870968</cx:pt>
          <cx:pt idx="2054">49.903225806451616</cx:pt>
          <cx:pt idx="2055">50</cx:pt>
          <cx:pt idx="2056">50</cx:pt>
          <cx:pt idx="2057">49.903225806451616</cx:pt>
          <cx:pt idx="2058">49.70967741935484</cx:pt>
          <cx:pt idx="2059">49.70967741935484</cx:pt>
          <cx:pt idx="2060">49.967741935483872</cx:pt>
          <cx:pt idx="2061">50.064516129032256</cx:pt>
          <cx:pt idx="2062">50.096774193548384</cx:pt>
          <cx:pt idx="2063">50.096774193548384</cx:pt>
          <cx:pt idx="2064">50.193548387096776</cx:pt>
          <cx:pt idx="2065">50.064516129032256</cx:pt>
          <cx:pt idx="2066">50</cx:pt>
          <cx:pt idx="2067">49.87096774193548</cx:pt>
          <cx:pt idx="2068">49.87096774193548</cx:pt>
          <cx:pt idx="2069">49.70967741935484</cx:pt>
          <cx:pt idx="2070">49.903225806451616</cx:pt>
          <cx:pt idx="2071">49.903225806451616</cx:pt>
          <cx:pt idx="2072">49.612903225806448</cx:pt>
          <cx:pt idx="2073">49.548387096774192</cx:pt>
          <cx:pt idx="2074">49.548387096774192</cx:pt>
          <cx:pt idx="2075">49.451612903225808</cx:pt>
          <cx:pt idx="2076">49.29032258064516</cx:pt>
          <cx:pt idx="2077">49.548387096774192</cx:pt>
          <cx:pt idx="2078">49.41935483870968</cx:pt>
          <cx:pt idx="2079">49.483870967741936</cx:pt>
          <cx:pt idx="2080">49.387096774193552</cx:pt>
          <cx:pt idx="2081">49.41935483870968</cx:pt>
          <cx:pt idx="2082">49.387096774193552</cx:pt>
          <cx:pt idx="2083">49.322580645161288</cx:pt>
          <cx:pt idx="2084">49.322580645161288</cx:pt>
          <cx:pt idx="2085">49.12903225806452</cx:pt>
          <cx:pt idx="2086">49.193548387096776</cx:pt>
          <cx:pt idx="2087">49.12903225806452</cx:pt>
          <cx:pt idx="2088">49.12903225806452</cx:pt>
          <cx:pt idx="2089">49.193548387096776</cx:pt>
          <cx:pt idx="2090">48.967741935483872</cx:pt>
          <cx:pt idx="2091">48.806451612903224</cx:pt>
          <cx:pt idx="2092">48.70967741935484</cx:pt>
          <cx:pt idx="2093">48.87096774193548</cx:pt>
          <cx:pt idx="2094">48.903225806451616</cx:pt>
          <cx:pt idx="2095">48.677419354838712</cx:pt>
          <cx:pt idx="2096">48.838709677419352</cx:pt>
          <cx:pt idx="2097">48.741935483870968</cx:pt>
          <cx:pt idx="2098">48.774193548387096</cx:pt>
          <cx:pt idx="2099">48.935483870967744</cx:pt>
          <cx:pt idx="2100">49.032258064516128</cx:pt>
          <cx:pt idx="2101">48.741935483870968</cx:pt>
          <cx:pt idx="2102">48.935483870967744</cx:pt>
          <cx:pt idx="2103">49.096774193548384</cx:pt>
          <cx:pt idx="2104">49.29032258064516</cx:pt>
          <cx:pt idx="2105">49.516129032258064</cx:pt>
          <cx:pt idx="2106">49.70967741935484</cx:pt>
          <cx:pt idx="2107">49.741935483870968</cx:pt>
          <cx:pt idx="2108">49.548387096774192</cx:pt>
          <cx:pt idx="2109">49.741935483870968</cx:pt>
          <cx:pt idx="2110">49.806451612903224</cx:pt>
          <cx:pt idx="2111">49.806451612903224</cx:pt>
          <cx:pt idx="2112">49.87096774193548</cx:pt>
          <cx:pt idx="2113">49.87096774193548</cx:pt>
          <cx:pt idx="2114">49.87096774193548</cx:pt>
          <cx:pt idx="2115">49.903225806451616</cx:pt>
          <cx:pt idx="2116">50.161290322580648</cx:pt>
          <cx:pt idx="2117">49.87096774193548</cx:pt>
          <cx:pt idx="2118">49.70967741935484</cx:pt>
          <cx:pt idx="2119">49.838709677419352</cx:pt>
          <cx:pt idx="2120">49.87096774193548</cx:pt>
          <cx:pt idx="2121">49.87096774193548</cx:pt>
          <cx:pt idx="2122">49.935483870967744</cx:pt>
          <cx:pt idx="2123">50.064516129032256</cx:pt>
          <cx:pt idx="2124">50.161290322580648</cx:pt>
          <cx:pt idx="2125">49.903225806451616</cx:pt>
          <cx:pt idx="2126">50.12903225806452</cx:pt>
          <cx:pt idx="2127">50</cx:pt>
          <cx:pt idx="2128">50.064516129032256</cx:pt>
          <cx:pt idx="2129">50.258064516129032</cx:pt>
          <cx:pt idx="2130">50.161290322580648</cx:pt>
          <cx:pt idx="2131">50.12903225806452</cx:pt>
          <cx:pt idx="2132">50.161290322580648</cx:pt>
          <cx:pt idx="2133">49.838709677419352</cx:pt>
          <cx:pt idx="2134">49.774193548387096</cx:pt>
          <cx:pt idx="2135">49.451612903225808</cx:pt>
          <cx:pt idx="2136">49.451612903225808</cx:pt>
          <cx:pt idx="2137">49.258064516129032</cx:pt>
          <cx:pt idx="2138">49.451612903225808</cx:pt>
          <cx:pt idx="2139">49.548387096774192</cx:pt>
          <cx:pt idx="2140">49.258064516129032</cx:pt>
          <cx:pt idx="2141">49.032258064516128</cx:pt>
          <cx:pt idx="2142">49.258064516129032</cx:pt>
          <cx:pt idx="2143">49.225806451612904</cx:pt>
          <cx:pt idx="2144">49.451612903225808</cx:pt>
          <cx:pt idx="2145">49.612903225806448</cx:pt>
          <cx:pt idx="2146">49.548387096774192</cx:pt>
          <cx:pt idx="2147">49.322580645161288</cx:pt>
          <cx:pt idx="2148">49.548387096774192</cx:pt>
          <cx:pt idx="2149">49.645161290322584</cx:pt>
          <cx:pt idx="2150">49.70967741935484</cx:pt>
          <cx:pt idx="2151">49.58064516129032</cx:pt>
          <cx:pt idx="2152">49.903225806451616</cx:pt>
          <cx:pt idx="2153">49.70967741935484</cx:pt>
          <cx:pt idx="2154">49.70967741935484</cx:pt>
          <cx:pt idx="2155">49.645161290322584</cx:pt>
          <cx:pt idx="2156">49.903225806451616</cx:pt>
          <cx:pt idx="2157">49.903225806451616</cx:pt>
          <cx:pt idx="2158">50.096774193548384</cx:pt>
          <cx:pt idx="2159">50.258064516129032</cx:pt>
          <cx:pt idx="2160">50.096774193548384</cx:pt>
          <cx:pt idx="2161">50.193548387096776</cx:pt>
          <cx:pt idx="2162">50.064516129032256</cx:pt>
          <cx:pt idx="2163">50.322580645161288</cx:pt>
          <cx:pt idx="2164">50.548387096774192</cx:pt>
          <cx:pt idx="2165">50.548387096774192</cx:pt>
          <cx:pt idx="2166">50.806451612903224</cx:pt>
          <cx:pt idx="2167">50.645161290322584</cx:pt>
          <cx:pt idx="2168">50.774193548387096</cx:pt>
          <cx:pt idx="2169">50.677419354838712</cx:pt>
          <cx:pt idx="2170">50.516129032258064</cx:pt>
          <cx:pt idx="2171">50.645161290322584</cx:pt>
          <cx:pt idx="2172">50.774193548387096</cx:pt>
          <cx:pt idx="2173">50.612903225806448</cx:pt>
          <cx:pt idx="2174">50.806451612903224</cx:pt>
          <cx:pt idx="2175">50.838709677419352</cx:pt>
          <cx:pt idx="2176">50.58064516129032</cx:pt>
          <cx:pt idx="2177">50.70967741935484</cx:pt>
          <cx:pt idx="2178">50.741935483870968</cx:pt>
          <cx:pt idx="2179">50.548387096774192</cx:pt>
          <cx:pt idx="2180">50.645161290322584</cx:pt>
          <cx:pt idx="2181">50.548387096774192</cx:pt>
          <cx:pt idx="2182">50.548387096774192</cx:pt>
          <cx:pt idx="2183">50.548387096774192</cx:pt>
          <cx:pt idx="2184">50.838709677419352</cx:pt>
          <cx:pt idx="2185">51.032258064516128</cx:pt>
          <cx:pt idx="2186">50.838709677419352</cx:pt>
          <cx:pt idx="2187">50.774193548387096</cx:pt>
          <cx:pt idx="2188">50.58064516129032</cx:pt>
          <cx:pt idx="2189">50.41935483870968</cx:pt>
          <cx:pt idx="2190">50.225806451612904</cx:pt>
          <cx:pt idx="2191">50.387096774193552</cx:pt>
          <cx:pt idx="2192">50.41935483870968</cx:pt>
          <cx:pt idx="2193">50.516129032258064</cx:pt>
          <cx:pt idx="2194">50.354838709677416</cx:pt>
          <cx:pt idx="2195">50.322580645161288</cx:pt>
          <cx:pt idx="2196">50.193548387096776</cx:pt>
          <cx:pt idx="2197">50.193548387096776</cx:pt>
          <cx:pt idx="2198">50.032258064516128</cx:pt>
          <cx:pt idx="2199">49.935483870967744</cx:pt>
          <cx:pt idx="2200">50.12903225806452</cx:pt>
          <cx:pt idx="2201">50.096774193548384</cx:pt>
          <cx:pt idx="2202">50.258064516129032</cx:pt>
          <cx:pt idx="2203">50.064516129032256</cx:pt>
          <cx:pt idx="2204">50</cx:pt>
          <cx:pt idx="2205">50</cx:pt>
          <cx:pt idx="2206">49.70967741935484</cx:pt>
          <cx:pt idx="2207">49.967741935483872</cx:pt>
          <cx:pt idx="2208">50.096774193548384</cx:pt>
          <cx:pt idx="2209">50.032258064516128</cx:pt>
          <cx:pt idx="2210">50.032258064516128</cx:pt>
          <cx:pt idx="2211">49.903225806451616</cx:pt>
          <cx:pt idx="2212">49.967741935483872</cx:pt>
          <cx:pt idx="2213">50.258064516129032</cx:pt>
          <cx:pt idx="2214">50</cx:pt>
          <cx:pt idx="2215">49.903225806451616</cx:pt>
          <cx:pt idx="2216">49.806451612903224</cx:pt>
          <cx:pt idx="2217">49.935483870967744</cx:pt>
          <cx:pt idx="2218">49.838709677419352</cx:pt>
          <cx:pt idx="2219">50</cx:pt>
          <cx:pt idx="2220">49.967741935483872</cx:pt>
          <cx:pt idx="2221">50.193548387096776</cx:pt>
          <cx:pt idx="2222">50.064516129032256</cx:pt>
          <cx:pt idx="2223">50.12903225806452</cx:pt>
          <cx:pt idx="2224">50.225806451612904</cx:pt>
          <cx:pt idx="2225">50.548387096774192</cx:pt>
          <cx:pt idx="2226">50.70967741935484</cx:pt>
          <cx:pt idx="2227">51.064516129032256</cx:pt>
          <cx:pt idx="2228">51.258064516129032</cx:pt>
          <cx:pt idx="2229">51.677419354838712</cx:pt>
          <cx:pt idx="2230">51.903225806451616</cx:pt>
          <cx:pt idx="2231">51.87096774193548</cx:pt>
          <cx:pt idx="2232">52.225806451612904</cx:pt>
          <cx:pt idx="2233">52.225806451612904</cx:pt>
          <cx:pt idx="2234">52.483870967741936</cx:pt>
          <cx:pt idx="2235">52.70967741935484</cx:pt>
          <cx:pt idx="2236">52.838709677419352</cx:pt>
          <cx:pt idx="2237">53.096774193548384</cx:pt>
          <cx:pt idx="2238">53.29032258064516</cx:pt>
          <cx:pt idx="2239">53.41935483870968</cx:pt>
          <cx:pt idx="2240">53.677419354838712</cx:pt>
          <cx:pt idx="2241">54.096774193548384</cx:pt>
          <cx:pt idx="2242">54.354838709677416</cx:pt>
          <cx:pt idx="2243">54.58064516129032</cx:pt>
          <cx:pt idx="2244">54.645161290322584</cx:pt>
          <cx:pt idx="2245">55</cx:pt>
          <cx:pt idx="2246">55.096774193548384</cx:pt>
          <cx:pt idx="2247">55.322580645161288</cx:pt>
          <cx:pt idx="2248">55.58064516129032</cx:pt>
          <cx:pt idx="2249">55.935483870967744</cx:pt>
          <cx:pt idx="2250">56.096774193548384</cx:pt>
          <cx:pt idx="2251">56.322580645161288</cx:pt>
          <cx:pt idx="2252">56.322580645161288</cx:pt>
          <cx:pt idx="2253">23.870967741935484</cx:pt>
          <cx:pt idx="2254">25.580645161290324</cx:pt>
          <cx:pt idx="2255">27.35483870967742</cx:pt>
          <cx:pt idx="2256">29</cx:pt>
          <cx:pt idx="2257">30.741935483870968</cx:pt>
          <cx:pt idx="2258">32.225806451612904</cx:pt>
          <cx:pt idx="2259">33.87096774193548</cx:pt>
          <cx:pt idx="2260">35.483870967741936</cx:pt>
          <cx:pt idx="2261">37.064516129032256</cx:pt>
          <cx:pt idx="2262">38.677419354838712</cx:pt>
          <cx:pt idx="2263">40.29032258064516</cx:pt>
          <cx:pt idx="2264">41.935483870967744</cx:pt>
          <cx:pt idx="2265">43.677419354838712</cx:pt>
          <cx:pt idx="2266">45.258064516129032</cx:pt>
          <cx:pt idx="2267">46.903225806451616</cx:pt>
          <cx:pt idx="2268">48.483870967741936</cx:pt>
          <cx:pt idx="2269">50.064516129032256</cx:pt>
          <cx:pt idx="2270">50.12903225806452</cx:pt>
          <cx:pt idx="2271">50.41935483870968</cx:pt>
          <cx:pt idx="2272">50.258064516129032</cx:pt>
          <cx:pt idx="2273">50.548387096774192</cx:pt>
          <cx:pt idx="2274">50.322580645161288</cx:pt>
          <cx:pt idx="2275">50.12903225806452</cx:pt>
          <cx:pt idx="2276">50.322580645161288</cx:pt>
          <cx:pt idx="2277">50.451612903225808</cx:pt>
          <cx:pt idx="2278">50.58064516129032</cx:pt>
          <cx:pt idx="2279">50.516129032258064</cx:pt>
          <cx:pt idx="2280">50.677419354838712</cx:pt>
          <cx:pt idx="2281">50.483870967741936</cx:pt>
          <cx:pt idx="2282">50.354838709677416</cx:pt>
          <cx:pt idx="2283">50.548387096774192</cx:pt>
          <cx:pt idx="2284">50.354838709677416</cx:pt>
          <cx:pt idx="2285">50.096774193548384</cx:pt>
          <cx:pt idx="2286">50.064516129032256</cx:pt>
          <cx:pt idx="2287">50.032258064516128</cx:pt>
          <cx:pt idx="2288">49.774193548387096</cx:pt>
          <cx:pt idx="2289">50.032258064516128</cx:pt>
          <cx:pt idx="2290">50.12903225806452</cx:pt>
          <cx:pt idx="2291">50.258064516129032</cx:pt>
          <cx:pt idx="2292">50.387096774193552</cx:pt>
          <cx:pt idx="2293">50.451612903225808</cx:pt>
          <cx:pt idx="2294">50.451612903225808</cx:pt>
          <cx:pt idx="2295">50.354838709677416</cx:pt>
          <cx:pt idx="2296">50.354838709677416</cx:pt>
          <cx:pt idx="2297">50.41935483870968</cx:pt>
          <cx:pt idx="2298">50.225806451612904</cx:pt>
          <cx:pt idx="2299">50.322580645161288</cx:pt>
          <cx:pt idx="2300">50.258064516129032</cx:pt>
          <cx:pt idx="2301">50.225806451612904</cx:pt>
          <cx:pt idx="2302">50.225806451612904</cx:pt>
          <cx:pt idx="2303">50.354838709677416</cx:pt>
          <cx:pt idx="2304">50.29032258064516</cx:pt>
          <cx:pt idx="2305">50.258064516129032</cx:pt>
          <cx:pt idx="2306">50.451612903225808</cx:pt>
          <cx:pt idx="2307">50.193548387096776</cx:pt>
          <cx:pt idx="2308">50.032258064516128</cx:pt>
          <cx:pt idx="2309">49.903225806451616</cx:pt>
          <cx:pt idx="2310">49.741935483870968</cx:pt>
          <cx:pt idx="2311">49.516129032258064</cx:pt>
          <cx:pt idx="2312">49.516129032258064</cx:pt>
          <cx:pt idx="2313">49.483870967741936</cx:pt>
          <cx:pt idx="2314">49.41935483870968</cx:pt>
          <cx:pt idx="2315">49.58064516129032</cx:pt>
          <cx:pt idx="2316">49.741935483870968</cx:pt>
          <cx:pt idx="2317">49.70967741935484</cx:pt>
          <cx:pt idx="2318">49.741935483870968</cx:pt>
          <cx:pt idx="2319">49.806451612903224</cx:pt>
          <cx:pt idx="2320">49.58064516129032</cx:pt>
          <cx:pt idx="2321">49.322580645161288</cx:pt>
          <cx:pt idx="2322">49.161290322580648</cx:pt>
          <cx:pt idx="2323">49.096774193548384</cx:pt>
          <cx:pt idx="2324">49.064516129032256</cx:pt>
          <cx:pt idx="2325">49.193548387096776</cx:pt>
          <cx:pt idx="2326">49.12903225806452</cx:pt>
          <cx:pt idx="2327">49.032258064516128</cx:pt>
          <cx:pt idx="2328">48.903225806451616</cx:pt>
          <cx:pt idx="2329">49.193548387096776</cx:pt>
          <cx:pt idx="2330">49.258064516129032</cx:pt>
          <cx:pt idx="2331">49.451612903225808</cx:pt>
          <cx:pt idx="2332">49.645161290322584</cx:pt>
          <cx:pt idx="2333">49.58064516129032</cx:pt>
          <cx:pt idx="2334">49.516129032258064</cx:pt>
          <cx:pt idx="2335">49.451612903225808</cx:pt>
          <cx:pt idx="2336">49.41935483870968</cx:pt>
          <cx:pt idx="2337">49.451612903225808</cx:pt>
          <cx:pt idx="2338">49.387096774193552</cx:pt>
          <cx:pt idx="2339">49.516129032258064</cx:pt>
          <cx:pt idx="2340">49.70967741935484</cx:pt>
          <cx:pt idx="2341">49.935483870967744</cx:pt>
          <cx:pt idx="2342">50.064516129032256</cx:pt>
          <cx:pt idx="2343">50.064516129032256</cx:pt>
          <cx:pt idx="2344">50.064516129032256</cx:pt>
          <cx:pt idx="2345">50.064516129032256</cx:pt>
          <cx:pt idx="2346">50.032258064516128</cx:pt>
          <cx:pt idx="2347">49.935483870967744</cx:pt>
          <cx:pt idx="2348">49.935483870967744</cx:pt>
          <cx:pt idx="2349">50</cx:pt>
          <cx:pt idx="2350">50.193548387096776</cx:pt>
          <cx:pt idx="2351">50.451612903225808</cx:pt>
          <cx:pt idx="2352">50.548387096774192</cx:pt>
          <cx:pt idx="2353">50.451612903225808</cx:pt>
          <cx:pt idx="2354">50.29032258064516</cx:pt>
          <cx:pt idx="2355">50.161290322580648</cx:pt>
          <cx:pt idx="2356">49.87096774193548</cx:pt>
          <cx:pt idx="2357">50</cx:pt>
          <cx:pt idx="2358">49.87096774193548</cx:pt>
          <cx:pt idx="2359">50</cx:pt>
          <cx:pt idx="2360">49.70967741935484</cx:pt>
          <cx:pt idx="2361">49.41935483870968</cx:pt>
          <cx:pt idx="2362">49.354838709677416</cx:pt>
          <cx:pt idx="2363">49.12903225806452</cx:pt>
          <cx:pt idx="2364">49.032258064516128</cx:pt>
          <cx:pt idx="2365">49</cx:pt>
          <cx:pt idx="2366">48.903225806451616</cx:pt>
          <cx:pt idx="2367">48.967741935483872</cx:pt>
          <cx:pt idx="2368">48.838709677419352</cx:pt>
          <cx:pt idx="2369">48.967741935483872</cx:pt>
          <cx:pt idx="2370">49.12903225806452</cx:pt>
          <cx:pt idx="2371">49.06666666666667</cx:pt>
          <cx:pt idx="2372">48.931034482758619</cx:pt>
          <cx:pt idx="2373">48.892857142857146</cx:pt>
          <cx:pt idx="2374">49.037037037037038</cx:pt>
          <cx:pt idx="2375">49.153846153846153</cx:pt>
          <cx:pt idx="2376">49.119999999999997</cx:pt>
          <cx:pt idx="2377">49</cx:pt>
          <cx:pt idx="2378">49.086956521739133</cx:pt>
          <cx:pt idx="2379">48.909090909090907</cx:pt>
          <cx:pt idx="2380">48.714285714285715</cx:pt>
          <cx:pt idx="2381">48.450000000000003</cx:pt>
          <cx:pt idx="2382">48.10526315789474</cx:pt>
          <cx:pt idx="2383">48.055555555555557</cx:pt>
          <cx:pt idx="2384">48.176470588235297</cx:pt>
          <cx:pt idx="2385">48.3125</cx:pt>
          <cx:pt idx="2386">48.399999999999999</cx:pt>
          <cx:pt idx="2387">48.642857142857146</cx:pt>
          <cx:pt idx="2388">48.53846153846154</cx:pt>
          <cx:pt idx="2389">48.666666666666664</cx:pt>
          <cx:pt idx="2390">48.454545454545453</cx:pt>
          <cx:pt idx="2391">48.799999999999997</cx:pt>
          <cx:pt idx="2392">49.222222222222221</cx:pt>
          <cx:pt idx="2393">49</cx:pt>
          <cx:pt idx="2394">49.285714285714285</cx:pt>
          <cx:pt idx="2395">49.333333333333336</cx:pt>
          <cx:pt idx="2396">50</cx:pt>
          <cx:pt idx="2397">50.5</cx:pt>
          <cx:pt idx="2398">51.333333333333336</cx:pt>
          <cx:pt idx="2399">51.5</cx:pt>
          <cx:pt idx="2400">54</cx:pt>
        </cx:lvl>
      </cx:numDim>
    </cx:data>
    <cx:data id="5">
      <cx:numDim type="val">
        <cx:f>'DRT Rolling Mean'!$H$2:$H$1048576</cx:f>
        <cx:lvl ptCount="2401" formatCode="#,##0.00">
          <cx:pt idx="0">3.4351829103505889</cx:pt>
          <cx:pt idx="1">3.4190415939857011</cx:pt>
          <cx:pt idx="2">3.4130408078028642</cx:pt>
          <cx:pt idx="3">3.41927499201533</cx:pt>
          <cx:pt idx="4">3.4174385180453526</cx:pt>
          <cx:pt idx="5">3.416885733238336</cx:pt>
          <cx:pt idx="6">3.4058546053116476</cx:pt>
          <cx:pt idx="7">3.3924280765545531</cx:pt>
          <cx:pt idx="8">3.3654951723460185</cx:pt>
          <cx:pt idx="9">3.3555634719799516</cx:pt>
          <cx:pt idx="10">3.3789278431565233</cx:pt>
          <cx:pt idx="11">3.3709063214013715</cx:pt>
          <cx:pt idx="12">3.3824042453873182</cx:pt>
          <cx:pt idx="13">3.3943259710586449</cx:pt>
          <cx:pt idx="14">3.4076050905338677</cx:pt>
          <cx:pt idx="15">3.4194408274574357</cx:pt>
          <cx:pt idx="16">3.4308404785888023</cx:pt>
          <cx:pt idx="17">3.4388005798098424</cx:pt>
          <cx:pt idx="18">3.4391322506940525</cx:pt>
          <cx:pt idx="19">3.436902685305752</cx:pt>
          <cx:pt idx="20">3.4300542957521563</cx:pt>
          <cx:pt idx="21">3.4189740313981778</cx:pt>
          <cx:pt idx="22">3.4033916418937182</cx:pt>
          <cx:pt idx="23">3.392802741812643</cx:pt>
          <cx:pt idx="24">3.388245338181461</cx:pt>
          <cx:pt idx="25">3.3624425718006039</cx:pt>
          <cx:pt idx="26">3.374112473282068</cx:pt>
          <cx:pt idx="27">3.3568533031963246</cx:pt>
          <cx:pt idx="28">3.3510183524555925</cx:pt>
          <cx:pt idx="29">3.3268125199616732</cx:pt>
          <cx:pt idx="30">3.3229675945262009</cx:pt>
          <cx:pt idx="31">3.2991302852369597</cx:pt>
          <cx:pt idx="32">3.2979018745547006</cx:pt>
          <cx:pt idx="33">3.2992347001449525</cx:pt>
          <cx:pt idx="34">3.3043018942092726</cx:pt>
          <cx:pt idx="35">3.3139387760115966</cx:pt>
          <cx:pt idx="36">3.3072316536864608</cx:pt>
          <cx:pt idx="37">3.2960101221040219</cx:pt>
          <cx:pt idx="38">3.3094305088077052</cx:pt>
          <cx:pt idx="39">3.3128024961305065</cx:pt>
          <cx:pt idx="40">3.3294536029285307</cx:pt>
          <cx:pt idx="41">3.312206716949611</cx:pt>
          <cx:pt idx="42">3.3092646733655999</cx:pt>
          <cx:pt idx="43">3.3014888337468986</cx:pt>
          <cx:pt idx="44">3.2959179913028529</cx:pt>
          <cx:pt idx="45">3.2861029899516008</cx:pt>
          <cx:pt idx="46">3.2705820209812546</cx:pt>
          <cx:pt idx="47">3.2557919563668527</cx:pt>
          <cx:pt idx="48">3.260392354371914</cx:pt>
          <cx:pt idx="49">3.2598395695648978</cx:pt>
          <cx:pt idx="50">3.2891310222833705</cx:pt>
          <cx:pt idx="51">3.3198167211262075</cx:pt>
          <cx:pt idx="52">3.3075080460899695</cx:pt>
          <cx:pt idx="53">3.3008132078716566</cx:pt>
          <cx:pt idx="54">3.3193376409601267</cx:pt>
          <cx:pt idx="55">3.3250006142053419</cx:pt>
          <cx:pt idx="56">3.3311918040439288</cx:pt>
          <cx:pt idx="57">3.3338574552244316</cx:pt>
          <cx:pt idx="58">3.3397292582856304</cx:pt>
          <cx:pt idx="59">3.3468663243495569</cx:pt>
          <cx:pt idx="60">3.3517308306513036</cx:pt>
          <cx:pt idx="61">3.3614414170945635</cx:pt>
          <cx:pt idx="62">3.3865317052797095</cx:pt>
          <cx:pt idx="63">3.4011497923985949</cx:pt>
          <cx:pt idx="64">3.3951367221089357</cx:pt>
          <cx:pt idx="65">3.3870599218730808</cx:pt>
          <cx:pt idx="66">3.3840380315947232</cx:pt>
          <cx:pt idx="67">3.4021693732648708</cx:pt>
          <cx:pt idx="68">3.4194899638847267</cx:pt>
          <cx:pt idx="69">3.4114131636488714</cx:pt>
          <cx:pt idx="70">3.4438984841412186</cx:pt>
          <cx:pt idx="71">3.4529887231899372</cx:pt>
          <cx:pt idx="72">3.4625273321376806</cx:pt>
          <cx:pt idx="73">3.4835638650713707</cx:pt>
          <cx:pt idx="74">3.4872122447976803</cx:pt>
          <cx:pt idx="75">3.4767891801587094</cx:pt>
          <cx:pt idx="76">3.4796145247279062</cx:pt>
          <cx:pt idx="77">3.4852345035992425</cx:pt>
          <cx:pt idx="78">3.4907009311352959</cx:pt>
          <cx:pt idx="79">3.4821696189470055</cx:pt>
          <cx:pt idx="80">3.4990295555610138</cx:pt>
          <cx:pt idx="81">3.4854679016288714</cx:pt>
          <cx:pt idx="82">3.4824091590300457</cx:pt>
          <cx:pt idx="83">3.5082856300518386</cx:pt>
          <cx:pt idx="84">3.5181620519372028</cx:pt>
          <cx:pt idx="85">3.5056384050315703</cx:pt>
          <cx:pt idx="86">3.5105766159742533</cx:pt>
          <cx:pt idx="87">3.5127877552023201</cx:pt>
          <cx:pt idx="88">3.5283578605999564</cx:pt>
          <cx:pt idx="89">3.5363056777141741</cx:pt>
          <cx:pt idx="90">3.5456723091664011</cx:pt>
          <cx:pt idx="91">3.5409306439328807</cx:pt>
          <cx:pt idx="92">3.5125359310124566</cx:pt>
          <cx:pt idx="93">3.5028683389430761</cx:pt>
          <cx:pt idx="94">3.4810149129056831</cx:pt>
          <cx:pt idx="95">3.4719001056433192</cx:pt>
          <cx:pt idx="96">3.4751983883251851</cx:pt>
          <cx:pt idx="97">3.4877036090705844</cx:pt>
          <cx:pt idx="98">3.4804682701520773</cx:pt>
          <cx:pt idx="99">3.477833329238631</cx:pt>
          <cx:pt idx="100">3.4797127975824873</cx:pt>
          <cx:pt idx="101">3.4491192295408193</cx:pt>
          <cx:pt idx="102">3.4523253814215167</cx:pt>
          <cx:pt idx="103">3.4378301353708571</cx:pt>
          <cx:pt idx="104">3.4279721396457266</cx:pt>
          <cx:pt idx="105">3.4350477851755397</cx:pt>
          <cx:pt idx="106">3.4456796796304938</cx:pt>
          <cx:pt idx="107">3.4480750804608995</cx:pt>
          <cx:pt idx="108">3.4468773800456964</cx:pt>
          <cx:pt idx="109">3.4627238778468419</cx:pt>
          <cx:pt idx="110">3.459063214013709</cx:pt>
          <cx:pt idx="111">3.4451883153575902</cx:pt>
          <cx:pt idx="112">3.4378239933174459</cx:pt>
          <cx:pt idx="113">3.4431798638920963</cx:pt>
          <cx:pt idx="114">3.4166707613689407</cx:pt>
          <cx:pt idx="115">3.4248826867798443</cx:pt>
          <cx:pt idx="116">3.4054123774660345</cx:pt>
          <cx:pt idx="117">3.4063705377981965</cx:pt>
          <cx:pt idx="118">3.3999582340368031</cx:pt>
          <cx:pt idx="119">3.3760963565339166</cx:pt>
          <cx:pt idx="120">3.3642114831830576</cx:pt>
          <cx:pt idx="121">3.3557661597425255</cx:pt>
          <cx:pt idx="122">3.3563189445495416</cx:pt>
          <cx:pt idx="123">3.3584748052969067</cx:pt>
          <cx:pt idx="124">3.3565462005257598</cx:pt>
          <cx:pt idx="125">3.375604992261013</cx:pt>
          <cx:pt idx="126">3.3905854605311649</cx:pt>
          <cx:pt idx="127">3.4144043436601721</cx:pt>
          <cx:pt idx="128">3.4025010441490799</cx:pt>
          <cx:pt idx="129">3.4060511510208089</cx:pt>
          <cx:pt idx="130">3.4156081861287864</cx:pt>
          <cx:pt idx="131">3.4220020637299462</cx:pt>
          <cx:pt idx="132">3.4411161339459002</cx:pt>
          <cx:pt idx="133">3.4342984546593613</cx:pt>
          <cx:pt idx="134">3.4487691324963761</cx:pt>
          <cx:pt idx="135">3.4469879370070999</cx:pt>
          <cx:pt idx="136">3.435846252119009</cx:pt>
          <cx:pt idx="137">3.4156757487163114</cx:pt>
          <cx:pt idx="138">3.428930299977889</cx:pt>
          <cx:pt idx="139">3.4335368400363615</cx:pt>
          <cx:pt idx="140">3.4149387023069555</cx:pt>
          <cx:pt idx="141">3.430785200108101</cx:pt>
          <cx:pt idx="142">3.4166584772621182</cx:pt>
          <cx:pt idx="143">3.4064442424391319</cx:pt>
          <cx:pt idx="144">3.4027958627128219</cx:pt>
          <cx:pt idx="145">3.4087905068422475</cx:pt>
          <cx:pt idx="146">3.405848463258236</cx:pt>
          <cx:pt idx="147">3.4192258555880399</cx:pt>
          <cx:pt idx="148">3.4129793872687508</cx:pt>
          <cx:pt idx="149">3.4092204505810373</cx:pt>
          <cx:pt idx="150">3.4228312409404706</cx:pt>
          <cx:pt idx="151">3.4246370046433916</cx:pt>
          <cx:pt idx="152">3.4447583716187995</cx:pt>
          <cx:pt idx="153">3.4611699383337835</cx:pt>
          <cx:pt idx="154">3.4734233348893202</cx:pt>
          <cx:pt idx="155">3.4742279438862003</cx:pt>
          <cx:pt idx="156">3.4767891801587116</cx:pt>
          <cx:pt idx="157">3.4731653686460464</cx:pt>
          <cx:pt idx="158">3.4549111859076733</cx:pt>
          <cx:pt idx="159">3.4698609439107688</cx:pt>
          <cx:pt idx="160">3.4687553742967356</cx:pt>
          <cx:pt idx="161">3.4490762351669413</cx:pt>
          <cx:pt idx="162">3.4444512689482347</cx:pt>
          <cx:pt idx="163">3.4434194039751373</cx:pt>
          <cx:pt idx="164">3.4345011424219347</cx:pt>
          <cx:pt idx="165">3.4253371987322803</cx:pt>
          <cx:pt idx="166">3.4228619512075276</cx:pt>
          <cx:pt idx="167">3.4434316880819598</cx:pt>
          <cx:pt idx="168">3.4535415079969538</cx:pt>
          <cx:pt idx="169">3.4311537233127778</cx:pt>
          <cx:pt idx="170">3.4309387514433825</cx:pt>
          <cx:pt idx="171">3.459364174630863</cx:pt>
          <cx:pt idx="172">3.4266208878952411</cx:pt>
          <cx:pt idx="173">3.44509004250301</cx:pt>
          <cx:pt idx="174">3.4745596147704103</cx:pt>
          <cx:pt idx="175">3.4658993194604828</cx:pt>
          <cx:pt idx="176">3.4599046753310576</cx:pt>
          <cx:pt idx="177">3.454382969314302</cx:pt>
          <cx:pt idx="178">3.4683622828784122</cx:pt>
          <cx:pt idx="179">3.4656597793774417</cx:pt>
          <cx:pt idx="180">3.4710647863793831</cx:pt>
          <cx:pt idx="181">3.463940004422279</cx:pt>
          <cx:pt idx="182">3.4469326585263991</cx:pt>
          <cx:pt idx="183">3.4195022479915487</cx:pt>
          <cx:pt idx="184">3.3914822003292149</cx:pt>
          <cx:pt idx="185">3.3883313269292192</cx:pt>
          <cx:pt idx="186">3.3872748937424757</cx:pt>
          <cx:pt idx="187">3.3716986462914287</cx:pt>
          <cx:pt idx="188">3.3684126477163843</cx:pt>
          <cx:pt idx="189">3.3651696435152201</cx:pt>
          <cx:pt idx="190">3.3744195759526328</cx:pt>
          <cx:pt idx="191">3.3647151315627846</cx:pt>
          <cx:pt idx="192">3.3598014888337482</cx:pt>
          <cx:pt idx="193">3.3439427069257808</cx:pt>
          <cx:pt idx="194">3.342063238581924</cx:pt>
          <cx:pt idx="195">3.3376409601257904</cx:pt>
          <cx:pt idx="196">3.3456870500945883</cx:pt>
          <cx:pt idx="197">3.3311488096700503</cx:pt>
          <cx:pt idx="198">3.3321376802692684</cx:pt>
          <cx:pt idx="199">3.3237844876299047</cx:pt>
          <cx:pt idx="200">3.3410682259292934</cx:pt>
          <cx:pt idx="201">3.3488870599218732</cx:pt>
          <cx:pt idx="202">3.3467803356017987</cx:pt>
          <cx:pt idx="203">3.3683205169152153</cx:pt>
          <cx:pt idx="204">3.3596295113382304</cx:pt>
          <cx:pt idx="205">3.3396555536446946</cx:pt>
          <cx:pt idx="206">3.3399135198879693</cx:pt>
          <cx:pt idx="207">3.3535857307815151</cx:pt>
          <cx:pt idx="208">3.3595988010711739</cx:pt>
          <cx:pt idx="209">3.3458713116969263</cx:pt>
          <cx:pt idx="210">3.3384824214431368</cx:pt>
          <cx:pt idx="211">3.3378436478883624</cx:pt>
          <cx:pt idx="212">3.3544517603125081</cx:pt>
          <cx:pt idx="213">3.3950384492543555</cx:pt>
          <cx:pt idx="214">3.4334139989681356</cx:pt>
          <cx:pt idx="215">3.4834594501633798</cx:pt>
          <cx:pt idx="216">3.5233520870697497</cx:pt>
          <cx:pt idx="217">3.5625138196201762</cx:pt>
          <cx:pt idx="218">3.6083089698548023</cx:pt>
          <cx:pt idx="219">3.6432265434980224</cx:pt>
          <cx:pt idx="220">3.6723153084539217</cx:pt>
          <cx:pt idx="221">3.6861226445225159</cx:pt>
          <cx:pt idx="222">3.7171952927302652</cx:pt>
          <cx:pt idx="223">3.761663759428052</cx:pt>
          <cx:pt idx="224">3.8068569884283709</cx:pt>
          <cx:pt idx="225">3.8374566985234502</cx:pt>
          <cx:pt idx="226">3.8766921357148116</cx:pt>
          <cx:pt idx="227">3.9000565068913846</cx:pt>
          <cx:pt idx="228">3.9575829791415869</cx:pt>
          <cx:pt idx="229">3.9680060437805564</cx:pt>
          <cx:pt idx="230">4.0144522516767802</cx:pt>
          <cx:pt idx="231">4.0432277719087049</cx:pt>
          <cx:pt idx="232">4.0529076480849078</cx:pt>
          <cx:pt idx="233">4.0656401248065253</cx:pt>
          <cx:pt idx="234">4.0871925902267652</cx:pt>
          <cx:pt idx="235">4.1219013340540016</cx:pt>
          <cx:pt idx="236">4.1549701496204223</cx:pt>
          <cx:pt idx="237">4.1916013561653935</cx:pt>
          <cx:pt idx="238">4.2202540353290923</cx:pt>
          <cx:pt idx="239">4.2365366189224387</cx:pt>
          <cx:pt idx="240">4.2670503402697584</cx:pt>
          <cx:pt idx="241">4.3120900179347963</cx:pt>
          <cx:pt idx="242">4.357639486032971</cx:pt>
          <cx:pt idx="243">4.378952411370169</cx:pt>
          <cx:pt idx="244">4.3912488022995841</cx:pt>
          <cx:pt idx="245">4.3832027123307853</cx:pt>
          <cx:pt idx="246">4.3722944254723233</cx:pt>
          <cx:pt idx="247">4.3606490922045058</cx:pt>
          <cx:pt idx="248">4.359174999385794</cx:pt>
          <cx:pt idx="249">4.3429599783799713</cx:pt>
          <cx:pt idx="250">4.3369407660368999</cx:pt>
          <cx:pt idx="251">4.3343918138712123</cx:pt>
          <cx:pt idx="252">4.3264071444365273</cx:pt>
          <cx:pt idx="253">4.3328440164115651</cx:pt>
          <cx:pt idx="254">4.3257438026681072</cx:pt>
          <cx:pt idx="255">4.3265115593445191</cx:pt>
          <cx:pt idx="256">4.322218264010024</cx:pt>
          <cx:pt idx="257">4.2889467606810312</cx:pt>
          <cx:pt idx="258">4.2635002333980294</cx:pt>
          <cx:pt idx="259">4.2230548116846425</cx:pt>
          <cx:pt idx="260">4.2039345994152759</cx:pt>
          <cx:pt idx="261">4.1674630862589979</cx:pt>
          <cx:pt idx="262">4.1310529936368328</cx:pt>
          <cx:pt idx="263">4.1098997616883279</cx:pt>
          <cx:pt idx="264">4.0801722231776525</cx:pt>
          <cx:pt idx="265">4.069356067120359</cx:pt>
          <cx:pt idx="266">4.0498059111122036</cx:pt>
          <cx:pt idx="267">4.0229282853843698</cx:pt>
          <cx:pt idx="268">3.9798049283836572</cx:pt>
          <cx:pt idx="269">3.9519998525907183</cx:pt>
          <cx:pt idx="270">3.9239613787681504</cx:pt>
          <cx:pt idx="271">3.9080411763260692</cx:pt>
          <cx:pt idx="272">3.8691926884996195</cx:pt>
          <cx:pt idx="273">3.8279672260029978</cx:pt>
          <cx:pt idx="274">3.7910903373215739</cx:pt>
          <cx:pt idx="275">3.7593604893988162</cx:pt>
          <cx:pt idx="276">3.7390855710881268</cx:pt>
          <cx:pt idx="277">3.7254747807286939</cx:pt>
          <cx:pt idx="278">3.7010539763653791</cx:pt>
          <cx:pt idx="279">3.6704665503771232</cx:pt>
          <cx:pt idx="280">3.6566960666289963</cx:pt>
          <cx:pt idx="281">3.6181239712060544</cx:pt>
          <cx:pt idx="282">3.5861054467729656</cx:pt>
          <cx:pt idx="283">3.5747672161757125</cx:pt>
          <cx:pt idx="284">3.5495233766552841</cx:pt>
          <cx:pt idx="285">3.5391310222833696</cx:pt>
          <cx:pt idx="286">3.4963516202736895</cx:pt>
          <cx:pt idx="287">3.4868191533793578</cx:pt>
          <cx:pt idx="288">3.4912475738889022</cx:pt>
          <cx:pt idx="289">3.4954548804756405</cx:pt>
          <cx:pt idx="290">3.5008537454241702</cx:pt>
          <cx:pt idx="291">3.4830172223177653</cx:pt>
          <cx:pt idx="292">3.49242070609046</cx:pt>
          <cx:pt idx="293">3.4959216765348988</cx:pt>
          <cx:pt idx="294">3.5086971476303961</cx:pt>
          <cx:pt idx="295">3.5000859887477578</cx:pt>
          <cx:pt idx="296">3.4754563545684594</cx:pt>
          <cx:pt idx="297">3.4602240621084439</cx:pt>
          <cx:pt idx="298">3.4580497752008452</cx:pt>
          <cx:pt idx="299">3.4804375598850208</cx:pt>
          <cx:pt idx="300">3.4939807876569291</cx:pt>
          <cx:pt idx="301">3.4845834459376461</cx:pt>
          <cx:pt idx="302">3.4595607203400243</cx:pt>
          <cx:pt idx="303">3.4612375009213081</cx:pt>
          <cx:pt idx="304">3.4629941281969394</cx:pt>
          <cx:pt idx="305">3.4499361226445227</cx:pt>
          <cx:pt idx="306">3.4351092057096531</cx:pt>
          <cx:pt idx="307">3.4291698400609301</cx:pt>
          <cx:pt idx="308">3.4371422253887927</cx:pt>
          <cx:pt idx="309">3.4355084391813877</cx:pt>
          <cx:pt idx="310">3.4336412549443533</cx:pt>
          <cx:pt idx="311">3.4218546544480763</cx:pt>
          <cx:pt idx="312">3.4260558189814017</cx:pt>
          <cx:pt idx="313">3.4141525194703086</cx:pt>
          <cx:pt idx="314">3.3977593789155582</cx:pt>
          <cx:pt idx="315">3.413882269120212</cx:pt>
          <cx:pt idx="316">3.3919919907623517</cx:pt>
          <cx:pt idx="317">3.4161671129892146</cx:pt>
          <cx:pt idx="318">3.3965555364469444</cx:pt>
          <cx:pt idx="319">3.3949893128270645</cx:pt>
          <cx:pt idx="320">3.3950998697884676</cx:pt>
          <cx:pt idx="321">3.3775335970321598</cx:pt>
          <cx:pt idx="322">3.3863535857307818</cx:pt>
          <cx:pt idx="323">3.397894504090607</cx:pt>
          <cx:pt idx="324">3.4000687909982066</cx:pt>
          <cx:pt idx="325">3.374757388890254</cx:pt>
          <cx:pt idx="326">3.3882576222882834</cx:pt>
          <cx:pt idx="327">3.3932081173377888</cx:pt>
          <cx:pt idx="328">3.4019912537159431</cx:pt>
          <cx:pt idx="329">3.4236051396702956</cx:pt>
          <cx:pt idx="330">3.412610864064074</cx:pt>
          <cx:pt idx="331">3.3913716433678109</cx:pt>
          <cx:pt idx="332">3.400554013217699</cx:pt>
          <cx:pt idx="333">3.3973847136574702</cx:pt>
          <cx:pt idx="334">3.4001793479596096</cx:pt>
          <cx:pt idx="335">3.4012480652531751</cx:pt>
          <cx:pt idx="336">3.4272658035034271</cx:pt>
          <cx:pt idx="337">3.439427069257794</cx:pt>
          <cx:pt idx="338">3.438075817507309</cx:pt>
          <cx:pt idx="339">3.4392919440827456</cx:pt>
          <cx:pt idx="340">3.4492297865022237</cx:pt>
          <cx:pt idx="341">3.4582278947497724</cx:pt>
          <cx:pt idx="342">3.4707883939758735</cx:pt>
          <cx:pt idx="343">3.468227157703363</cx:pt>
          <cx:pt idx="344">3.4898656118713611</cx:pt>
          <cx:pt idx="345">3.4864936245485589</cx:pt>
          <cx:pt idx="346">3.4609611085177998</cx:pt>
          <cx:pt idx="347">3.4426086529248465</cx:pt>
          <cx:pt idx="348">3.4202761467213723</cx:pt>
          <cx:pt idx="349">3.4104365771564753</cx:pt>
          <cx:pt idx="350">3.4289180158710666</cx:pt>
          <cx:pt idx="351">3.4361656388963961</cx:pt>
          <cx:pt idx="352">3.4535599341571874</cx:pt>
          <cx:pt idx="353">3.4597818342628308</cx:pt>
          <cx:pt idx="354">3.4287030440016708</cx:pt>
          <cx:pt idx="355">3.4213080116944696</cx:pt>
          <cx:pt idx="356">3.4415399356312806</cx:pt>
          <cx:pt idx="357">3.425251209984522</cx:pt>
          <cx:pt idx="358">3.412156352111638</cx:pt>
          <cx:pt idx="359">3.418851190329951</cx:pt>
          <cx:pt idx="360">3.3971451735744296</cx:pt>
          <cx:pt idx="361">3.3868879443775644</cx:pt>
          <cx:pt idx="362">3.371532810849323</cx:pt>
          <cx:pt idx="363">3.3708203326536128</cx:pt>
          <cx:pt idx="364">3.3686460457460141</cx:pt>
          <cx:pt idx="365">3.3712564184458147</cx:pt>
          <cx:pt idx="366">3.3694138024224256</cx:pt>
          <cx:pt idx="367">3.3704518094489346</cx:pt>
          <cx:pt idx="368">3.379185809399798</cx:pt>
          <cx:pt idx="369">3.40885192737636</cx:pt>
          <cx:pt idx="370">3.3911566714984152</cx:pt>
          <cx:pt idx="371">3.3764648797385934</cx:pt>
          <cx:pt idx="372">3.3730191877748563</cx:pt>
          <cx:pt idx="373">3.3521116379628029</cx:pt>
          <cx:pt idx="374">3.3859727784192808</cx:pt>
          <cx:pt idx="375">3.3763113284033115</cx:pt>
          <cx:pt idx="376">3.3714591062083872</cx:pt>
          <cx:pt idx="377">3.3704026730216445</cx:pt>
          <cx:pt idx="378">3.3860157727931601</cx:pt>
          <cx:pt idx="379">3.4012603493599984</cx:pt>
          <cx:pt idx="380">3.4169594378792718</cx:pt>
          <cx:pt idx="381">3.4084219836375698</cx:pt>
          <cx:pt idx="382">3.3975259808859306</cx:pt>
          <cx:pt idx="383">3.386077193327274</cx:pt>
          <cx:pt idx="384">3.4037355968847516</cx:pt>
          <cx:pt idx="385">3.422911087634819</cx:pt>
          <cx:pt idx="386">3.4184765250718629</cx:pt>
          <cx:pt idx="387">3.4038338697393318</cx:pt>
          <cx:pt idx="388">3.415995135493699</cx:pt>
          <cx:pt idx="389">3.4440520354765014</cx:pt>
          <cx:pt idx="390">3.4183782522172819</cx:pt>
          <cx:pt idx="391">3.4197417880745893</cx:pt>
          <cx:pt idx="392">3.4274807753728234</cx:pt>
          <cx:pt idx="393">3.4513119426086534</cx:pt>
          <cx:pt idx="394">3.4682087315431298</cx:pt>
          <cx:pt idx="395">3.4939685035501071</cx:pt>
          <cx:pt idx="396">3.5109881335528095</cx:pt>
          <cx:pt idx="397">3.5146242291722971</cx:pt>
          <cx:pt idx="398">3.5119647200452051</cx:pt>
          <cx:pt idx="399">3.4846571505785811</cx:pt>
          <cx:pt idx="400">3.459253617669459</cx:pt>
          <cx:pt idx="401">3.4518892956293143</cx:pt>
          <cx:pt idx="402">3.4538977470948087</cx:pt>
          <cx:pt idx="403">3.4466194138024222</cx:pt>
          <cx:pt idx="404">3.4475775741345842</cx:pt>
          <cx:pt idx="405">3.433942215561506</cx:pt>
          <cx:pt idx="406">3.4532036950593317</cx:pt>
          <cx:pt idx="407">3.4736444488121263</cx:pt>
          <cx:pt idx="408">3.4931270422327594</cx:pt>
          <cx:pt idx="409">3.497168513377392</cx:pt>
          <cx:pt idx="410">3.4940852025649214</cx:pt>
          <cx:pt idx="411">3.4805419747930131</cx:pt>
          <cx:pt idx="412">3.4815738397661109</cx:pt>
          <cx:pt idx="413">3.4765987765029602</cx:pt>
          <cx:pt idx="414">3.508365476746186</cx:pt>
          <cx:pt idx="415">3.4795285359801493</cx:pt>
          <cx:pt idx="416">3.4834840183770241</cx:pt>
          <cx:pt idx="417">3.4727231408004324</cx:pt>
          <cx:pt idx="418">3.4866103235633741</cx:pt>
          <cx:pt idx="419">3.482409159030047</cx:pt>
          <cx:pt idx="420">3.4588298159840796</cx:pt>
          <cx:pt idx="421">3.4869727047146406</cx:pt>
          <cx:pt idx="422">3.4754932068889275</cx:pt>
          <cx:pt idx="423">3.4566985234503602</cx:pt>
          <cx:pt idx="424">3.444070461636735</cx:pt>
          <cx:pt idx="425">3.4180281551728378</cx:pt>
          <cx:pt idx="426">3.4073286981303599</cx:pt>
          <cx:pt idx="427">3.3992457558410933</cx:pt>
          <cx:pt idx="428">3.3880242242586549</cx:pt>
          <cx:pt idx="429">3.387459155344815</cx:pt>
          <cx:pt idx="430">3.4029616981549271</cx:pt>
          <cx:pt idx="431">3.3831597179569068</cx:pt>
          <cx:pt idx="432">3.3868940864309756</cx:pt>
          <cx:pt idx="433">3.402924845834459</cx:pt>
          <cx:pt idx="434">3.419729503967766</cx:pt>
          <cx:pt idx="435">3.427873866791145</cx:pt>
          <cx:pt idx="436">3.4021079527307565</cx:pt>
          <cx:pt idx="437">3.3798982875955081</cx:pt>
          <cx:pt idx="438">3.3750337812937614</cx:pt>
          <cx:pt idx="439">3.3578667420091883</cx:pt>
          <cx:pt idx="440">3.3641930570228231</cx:pt>
          <cx:pt idx="441">3.3653968994914378</cx:pt>
          <cx:pt idx="442">3.366723583028278</cx:pt>
          <cx:pt idx="443">3.3543473454045154</cx:pt>
          <cx:pt idx="444">3.3500970444438982</cx:pt>
          <cx:pt idx="445">3.3123848364985382</cx:pt>
          <cx:pt idx="446">3.3300678082696606</cx:pt>
          <cx:pt idx="447">3.3195648969363436</cx:pt>
          <cx:pt idx="448">3.3486413777854218</cx:pt>
          <cx:pt idx="449">3.3403188954131147</cx:pt>
          <cx:pt idx="450">3.3689408643097574</cx:pt>
          <cx:pt idx="451">3.3741186153354796</cx:pt>
          <cx:pt idx="452">3.3553976365378482</cx:pt>
          <cx:pt idx="453">3.3510859150431176</cx:pt>
          <cx:pt idx="454">3.388798122988478</cx:pt>
          <cx:pt idx="455">3.3995835687787146</cx:pt>
          <cx:pt idx="456">3.4303368302090758</cx:pt>
          <cx:pt idx="457">3.4416873449131513</cx:pt>
          <cx:pt idx="458">3.4223153084539222</cx:pt>
          <cx:pt idx="459">3.4286723337346143</cx:pt>
          <cx:pt idx="460">3.4135628823428252</cx:pt>
          <cx:pt idx="461">3.40600815664693</cx:pt>
          <cx:pt idx="462">3.4055167923740264</cx:pt>
          <cx:pt idx="463">3.4131329386040337</cx:pt>
          <cx:pt idx="464">3.3974522762449939</cx:pt>
          <cx:pt idx="465">3.386543989386531</cx:pt>
          <cx:pt idx="466">3.379394639215783</cx:pt>
          <cx:pt idx="467">3.4016718669385546</cx:pt>
          <cx:pt idx="468">3.3920042748691741</cx:pt>
          <cx:pt idx="469">3.3762560499226093</cx:pt>
          <cx:pt idx="470">3.3857148121760066</cx:pt>
          <cx:pt idx="471">3.3701877011522483</cx:pt>
          <cx:pt idx="472">3.3903582045549459</cx:pt>
          <cx:pt idx="473">3.4158538682652373</cx:pt>
          <cx:pt idx="474">3.4199997543178631</cx:pt>
          <cx:pt idx="475">3.4231444856644471</cx:pt>
          <cx:pt idx="476">3.4320688892710609</cx:pt>
          <cx:pt idx="477">3.43045352922389</cx:pt>
          <cx:pt idx="478">3.4278370144706778</cx:pt>
          <cx:pt idx="479">3.4282423899958236</cx:pt>
          <cx:pt idx="480">3.4237279807385197</cx:pt>
          <cx:pt idx="481">3.3960887403876856</cx:pt>
          <cx:pt idx="482">3.413163648871091</cx:pt>
          <cx:pt idx="483">3.4280888386605408</cx:pt>
          <cx:pt idx="484">3.4442670073458963</cx:pt>
          <cx:pt idx="485">3.4349065179470806</cx:pt>
          <cx:pt idx="486">3.4441748765447264</cx:pt>
          <cx:pt idx="487">3.4287030440016708</cx:pt>
          <cx:pt idx="488">3.421050045451195</cx:pt>
          <cx:pt idx="489">3.4466071296955993</cx:pt>
          <cx:pt idx="490">3.4582770311770625</cx:pt>
          <cx:pt idx="491">3.4590325037466525</cx:pt>
          <cx:pt idx="492">3.4780175908409694</cx:pt>
          <cx:pt idx="493">3.4935262757044936</cx:pt>
          <cx:pt idx="494">3.5058533769009661</cx:pt>
          <cx:pt idx="495">3.4986303220892809</cx:pt>
          <cx:pt idx="496">3.4877158931774064</cx:pt>
          <cx:pt idx="497">3.4962656315259317</cx:pt>
          <cx:pt idx="498">3.4996928973294352</cx:pt>
          <cx:pt idx="499">3.5062157580522326</cx:pt>
          <cx:pt idx="500">3.5086234429894607</cx:pt>
          <cx:pt idx="501">3.5192491953910032</cx:pt>
          <cx:pt idx="502">3.5288922192467389</cx:pt>
          <cx:pt idx="503">3.5071002137434588</cx:pt>
          <cx:pt idx="504">3.5072721912389744</cx:pt>
          <cx:pt idx="505">3.4933113038350978</cx:pt>
          <cx:pt idx="506">3.509710586443259</cx:pt>
          <cx:pt idx="507">3.5284315652408904</cx:pt>
          <cx:pt idx="508">3.5171240449106933</cx:pt>
          <cx:pt idx="509">3.5413851558853149</cx:pt>
          <cx:pt idx="510">3.5350281306046232</cx:pt>
          <cx:pt idx="511">3.5309928015134009</cx:pt>
          <cx:pt idx="512">3.5373068324202142</cx:pt>
          <cx:pt idx="513">3.5438174090361878</cx:pt>
          <cx:pt idx="514">3.548337960346903</cx:pt>
          <cx:pt idx="515">3.5551310714197966</cx:pt>
          <cx:pt idx="516">3.5307716875905952</cx:pt>
          <cx:pt idx="517">3.503003464118124</cx:pt>
          <cx:pt idx="518">3.4931024740191146</cx:pt>
          <cx:pt idx="519">3.4815676977126997</cx:pt>
          <cx:pt idx="520">3.4713596049431241</cx:pt>
          <cx:pt idx="521">3.4429341817556449</cx:pt>
          <cx:pt idx="522">3.4597449819423631</cx:pt>
          <cx:pt idx="523">3.4685711126943959</cx:pt>
          <cx:pt idx="524">3.4696029776674941</cx:pt>
          <cx:pt idx="525">3.4544013954745356</cx:pt>
          <cx:pt idx="526">3.4699837849789943</cx:pt>
          <cx:pt idx="527">3.4808982138908684</cx:pt>
          <cx:pt idx="528">3.4908176301501124</cx:pt>
          <cx:pt idx="529">3.4762548215119282</cx:pt>
          <cx:pt idx="530">3.4849519691423239</cx:pt>
          <cx:pt idx="531">3.5015600815664696</cx:pt>
          <cx:pt idx="532">3.4941957595263253</cx:pt>
          <cx:pt idx="533">3.4839753826499282</cx:pt>
          <cx:pt idx="534">3.485160798958308</cx:pt>
          <cx:pt idx="535">3.4676927990565805</cx:pt>
          <cx:pt idx="536">3.4925619733189199</cx:pt>
          <cx:pt idx="537">3.4931884627668723</cx:pt>
          <cx:pt idx="538">3.4846080141512914</cx:pt>
          <cx:pt idx="539">3.467287423531435</cx:pt>
          <cx:pt idx="540">3.436110360415694</cx:pt>
          <cx:pt idx="541">3.4280949807139516</cx:pt>
          <cx:pt idx="542">3.4403913716433676</cx:pt>
          <cx:pt idx="543">3.4454032872269851</cx:pt>
          <cx:pt idx="544">3.4275790482274031</cx:pt>
          <cx:pt idx="545">3.4192627079085076</cx:pt>
          <cx:pt idx="546">3.406794339483576</cx:pt>
          <cx:pt idx="547">3.3997739724344647</cx:pt>
          <cx:pt idx="548">3.4260742451416357</cx:pt>
          <cx:pt idx="549">3.4354470186472748</cx:pt>
          <cx:pt idx="550">3.4348205291993228</cx:pt>
          <cx:pt idx="551">3.4442731493993075</cx:pt>
          <cx:pt idx="552">3.4672874235314355</cx:pt>
          <cx:pt idx="553">3.4408765938628609</cx:pt>
          <cx:pt idx="554">3.4278677247377347</cx:pt>
          <cx:pt idx="555">3.4355698597155002</cx:pt>
          <cx:pt idx="556">3.4197049357541216</cx:pt>
          <cx:pt idx="557">3.4058546053116476</cx:pt>
          <cx:pt idx="558">3.3851251750485227</cx:pt>
          <cx:pt idx="559">3.3592978404540208</cx:pt>
          <cx:pt idx="560">3.3680134142446501</cx:pt>
          <cx:pt idx="561">3.376956244011498</cx:pt>
          <cx:pt idx="562">3.3720241751222266</cx:pt>
          <cx:pt idx="563">3.363578851681694</cx:pt>
          <cx:pt idx="564">3.3682590963811019</cx:pt>
          <cx:pt idx="565">3.3752610372699805</cx:pt>
          <cx:pt idx="566">3.3775458811389831</cx:pt>
          <cx:pt idx="567">3.355483625285606</cx:pt>
          <cx:pt idx="568">3.3464425226641774</cx:pt>
          <cx:pt idx="569">3.3495504016902933</cx:pt>
          <cx:pt idx="570">3.3731297447362603</cx:pt>
          <cx:pt idx="571">3.3733017222317767</cx:pt>
          <cx:pt idx="572">3.3662813551826649</cx:pt>
          <cx:pt idx="573">3.3709186055081939</cx:pt>
          <cx:pt idx="574">3.3760042257327472</cx:pt>
          <cx:pt idx="575">3.36213546913004</cx:pt>
          <cx:pt idx="576">3.358093997985407</cx:pt>
          <cx:pt idx="577">3.3656978601085923</cx:pt>
          <cx:pt idx="578">3.3859543522590485</cx:pt>
          <cx:pt idx="579">3.3692356828734988</cx:pt>
          <cx:pt idx="580">3.3707650541729115</cx:pt>
          <cx:pt idx="581">3.370150848831782</cx:pt>
          <cx:pt idx="582">3.3537515662236204</cx:pt>
          <cx:pt idx="583">3.3379296366361197</cx:pt>
          <cx:pt idx="584">3.356472495884824</cx:pt>
          <cx:pt idx="585">3.3409392428076545</cx:pt>
          <cx:pt idx="586">3.3334029432719943</cx:pt>
          <cx:pt idx="587">3.3460002948185634</cx:pt>
          <cx:pt idx="588">3.3415165958283164</cx:pt>
          <cx:pt idx="589">3.3621538952902732</cx:pt>
          <cx:pt idx="590">3.3888104070953</cx:pt>
          <cx:pt idx="591">3.3750644915608188</cx:pt>
          <cx:pt idx="592">3.3830491609955038</cx:pt>
          <cx:pt idx="593">3.3861140456477412</cx:pt>
          <cx:pt idx="594">3.3654398938653167</cx:pt>
          <cx:pt idx="595">3.3702675478465962</cx:pt>
          <cx:pt idx="596">3.3645492961206793</cx:pt>
          <cx:pt idx="597">3.3534198953394103</cx:pt>
          <cx:pt idx="598">3.3430521091811416</cx:pt>
          <cx:pt idx="599">3.3587143453799477</cx:pt>
          <cx:pt idx="600">3.3551396702945735</cx:pt>
          <cx:pt idx="601">3.3698007517873383</cx:pt>
          <cx:pt idx="602">3.4099022185096923</cx:pt>
          <cx:pt idx="603">3.4496228779205471</cx:pt>
          <cx:pt idx="604">3.4701373363142771</cx:pt>
          <cx:pt idx="605">3.4782018524433091</cx:pt>
          <cx:pt idx="606">3.5266258015379699</cx:pt>
          <cx:pt idx="607">3.5517590840969957</cx:pt>
          <cx:pt idx="608">3.5835380684470435</cx:pt>
          <cx:pt idx="609">3.6125347026017747</cx:pt>
          <cx:pt idx="610">3.6500135125175053</cx:pt>
          <cx:pt idx="611">3.6902992408421991</cx:pt>
          <cx:pt idx="612">3.7292705697368751</cx:pt>
          <cx:pt idx="613">3.7632606933149897</cx:pt>
          <cx:pt idx="614">3.8084047858880186</cx:pt>
          <cx:pt idx="615">3.8228754637250328</cx:pt>
          <cx:pt idx="616">3.8576640542466163</cx:pt>
          <cx:pt idx="617">3.8828157629658753</cx:pt>
          <cx:pt idx="618">3.9164373633393126</cx:pt>
          <cx:pt idx="619">3.9669189003267582</cx:pt>
          <cx:pt idx="620">3.9878018819251655</cx:pt>
          <cx:pt idx="621">4.0004545119524364</cx:pt>
          <cx:pt idx="622">4.0384861066751849</cx:pt>
          <cx:pt idx="623">4.055683856226814</cx:pt>
          <cx:pt idx="624">4.0832493919367128</cx:pt>
          <cx:pt idx="625">4.142114831830578</cx:pt>
          <cx:pt idx="626">4.1826155320246672</cx:pt>
          <cx:pt idx="627">4.2227845613345449</cx:pt>
          <cx:pt idx="628">4.2599255583126547</cx:pt>
          <cx:pt idx="629">4.3101675552170597</cx:pt>
          <cx:pt idx="630">4.322562219001056</cx:pt>
          <cx:pt idx="631">4.3526644227698208</cx:pt>
          <cx:pt idx="632">4.3560978306267355</cx:pt>
          <cx:pt idx="633">4.3520686435889244</cx:pt>
          <cx:pt idx="634">4.3463135395425398</cx:pt>
          <cx:pt idx="635">4.3476832174532589</cx:pt>
          <cx:pt idx="636">4.3618037982458295</cx:pt>
          <cx:pt idx="637">4.3499680613222615</cx:pt>
          <cx:pt idx="638">4.3459143060708056</cx:pt>
          <cx:pt idx="639">4.3416885733238333</cx:pt>
          <cx:pt idx="640">4.3328563005183893</cx:pt>
          <cx:pt idx="641">4.3313085030587422</cx:pt>
          <cx:pt idx="642">4.324859346976881</cx:pt>
          <cx:pt idx="643">4.3354236788443101</cx:pt>
          <cx:pt idx="644">4.3324140726727753</cx:pt>
          <cx:pt idx="645">4.3280839250178111</cx:pt>
          <cx:pt idx="646">4.3214812176006685</cx:pt>
          <cx:pt idx="647">4.3004938210942685</cx:pt>
          <cx:pt idx="648">4.2877859125862949</cx:pt>
          <cx:pt idx="649">4.2418802053902667</cx:pt>
          <cx:pt idx="650">4.1940766036901467</cx:pt>
          <cx:pt idx="651">4.1616465616785003</cx:pt>
          <cx:pt idx="652">4.1272633466820627</cx:pt>
          <cx:pt idx="653">4.0770704862049483</cx:pt>
          <cx:pt idx="654">4.0507210770704862</cx:pt>
          <cx:pt idx="655">4.0176522615040664</cx:pt>
          <cx:pt idx="656">3.9719308159103748</cx:pt>
          <cx:pt idx="657">3.9225118541630839</cx:pt>
          <cx:pt idx="658">3.8867405350956932</cx:pt>
          <cx:pt idx="659">3.8471550008598872</cx:pt>
          <cx:pt idx="660">3.8151794708006777</cx:pt>
          <cx:pt idx="661">3.7975886298307246</cx:pt>
          <cx:pt idx="662">3.7655332530771681</cx:pt>
          <cx:pt idx="663">3.7392759747438755</cx:pt>
          <cx:pt idx="664">3.7285580915411631</cx:pt>
          <cx:pt idx="665">3.7125580424047362</cx:pt>
          <cx:pt idx="666">3.6871729356558478</cx:pt>
          <cx:pt idx="667">3.6695513844188383</cx:pt>
          <cx:pt idx="668">3.6365562734933543</cx:pt>
          <cx:pt idx="669">3.6108333538068447</cx:pt>
          <cx:pt idx="670">3.5857737758887556</cx:pt>
          <cx:pt idx="671">3.5751111711667445</cx:pt>
          <cx:pt idx="672">3.536692627079085</cx:pt>
          <cx:pt idx="673">3.5097597228705495</cx:pt>
          <cx:pt idx="674">3.460746136648404</cx:pt>
          <cx:pt idx="675">3.4474363069061242</cx:pt>
          <cx:pt idx="676">3.4333832887010782</cx:pt>
          <cx:pt idx="677">3.427056973687443</cx:pt>
          <cx:pt idx="678">3.4334569933420145</cx:pt>
          <cx:pt idx="679">3.4251222268628854</cx:pt>
          <cx:pt idx="680">3.4432904208534998</cx:pt>
          <cx:pt idx="681">3.4666547920300714</cx:pt>
          <cx:pt idx="682">3.4642716753064886</cx:pt>
          <cx:pt idx="683">3.4858487089403729</cx:pt>
          <cx:pt idx="684">3.4927278087610252</cx:pt>
          <cx:pt idx="685">3.4727354249072548</cx:pt>
          <cx:pt idx="686">3.4865673291894947</cx:pt>
          <cx:pt idx="687">3.4930533375918236</cx:pt>
          <cx:pt idx="688">3.5108407242709379</cx:pt>
          <cx:pt idx="689">3.5052268874530133</cx:pt>
          <cx:pt idx="690">3.5078188339925798</cx:pt>
          <cx:pt idx="691">3.5131194260865293</cx:pt>
          <cx:pt idx="692">3.5044529887231901</cx:pt>
          <cx:pt idx="693">3.4851055204776062</cx:pt>
          <cx:pt idx="694">3.4913335626366608</cx:pt>
          <cx:pt idx="695">3.4822433235879422</cx:pt>
          <cx:pt idx="696">3.4894295260791597</cx:pt>
          <cx:pt idx="697">3.4748360071739195</cx:pt>
          <cx:pt idx="698">3.4666670761368947</cx:pt>
          <cx:pt idx="699">3.4968061322261264</cx:pt>
          <cx:pt idx="700">3.4873596540795524</cx:pt>
          <cx:pt idx="701">3.4659853082082406</cx:pt>
          <cx:pt idx="702">3.4579883546667327</cx:pt>
          <cx:pt idx="703">3.4647507554725694</cx:pt>
          <cx:pt idx="704">3.4445925361766951</cx:pt>
          <cx:pt idx="705">3.4545610888632288</cx:pt>
          <cx:pt idx="706">3.4367061395965903</cx:pt>
          <cx:pt idx="707">3.4169164435053934</cx:pt>
          <cx:pt idx="708">3.4105164238508228</cx:pt>
          <cx:pt idx="709">3.3888226912021233</cx:pt>
          <cx:pt idx="710">3.3995221482446016</cx:pt>
          <cx:pt idx="711">3.3954868191533794</cx:pt>
          <cx:pt idx="712">3.3727857897452282</cx:pt>
          <cx:pt idx="713">3.385211163796281</cx:pt>
          <cx:pt idx="714">3.3718521976267106</cx:pt>
          <cx:pt idx="715">3.37236813011326</cx:pt>
          <cx:pt idx="716">3.3728472102793412</cx:pt>
          <cx:pt idx="717">3.3637631132840333</cx:pt>
          <cx:pt idx="718">3.346663636586984</cx:pt>
          <cx:pt idx="719">3.3246505171608978</cx:pt>
          <cx:pt idx="720">3.3177468491266007</cx:pt>
          <cx:pt idx="721">3.3340847112006489</cx:pt>
          <cx:pt idx="722">3.3302582119254112</cx:pt>
          <cx:pt idx="723">3.3298712625604998</cx:pt>
          <cx:pt idx="724">3.3570437068520751</cx:pt>
          <cx:pt idx="725">3.3555143355526633</cx:pt>
          <cx:pt idx="726">3.3377883694076607</cx:pt>
          <cx:pt idx="727">3.3095594919293427</cx:pt>
          <cx:pt idx="728">3.325682382133996</cx:pt>
          <cx:pt idx="729">3.320995995381177</cx:pt>
          <cx:pt idx="730">3.308392501781197</cx:pt>
          <cx:pt idx="731">3.3244294032380926</cx:pt>
          <cx:pt idx="732">3.3411050782497616</cx:pt>
          <cx:pt idx="733">3.3336240571948026</cx:pt>
          <cx:pt idx="734">3.3347296268088358</cx:pt>
          <cx:pt idx="735">3.3417745620715928</cx:pt>
          <cx:pt idx="736">3.3356202245534741</cx:pt>
          <cx:pt idx="737">3.3352271331351506</cx:pt>
          <cx:pt idx="738">3.3579957251308268</cx:pt>
          <cx:pt idx="739">3.3481930078863971</cx:pt>
          <cx:pt idx="740">3.3447104636021927</cx:pt>
          <cx:pt idx="741">3.3207625973515467</cx:pt>
          <cx:pt idx="742">3.3139019236911289</cx:pt>
          <cx:pt idx="743">3.3241345846743489</cx:pt>
          <cx:pt idx="744">3.3106834877036095</cx:pt>
          <cx:pt idx="745">3.3154742893644209</cx:pt>
          <cx:pt idx="746">3.3498452202540361</cx:pt>
          <cx:pt idx="747">3.3655074564528418</cx:pt>
          <cx:pt idx="748">3.3573876618431084</cx:pt>
          <cx:pt idx="749">3.3827543424317623</cx:pt>
          <cx:pt idx="750">3.3940372945483137</cx:pt>
          <cx:pt idx="751">3.4189003267572415</cx:pt>
          <cx:pt idx="752">3.4157003169299567</cx:pt>
          <cx:pt idx="753">3.4222600299732213</cx:pt>
          <cx:pt idx="754">3.4139989681350276</cx:pt>
          <cx:pt idx="755">3.4129179667346397</cx:pt>
          <cx:pt idx="756">3.4230707810235126</cx:pt>
          <cx:pt idx="757">3.4363744687123812</cx:pt>
          <cx:pt idx="758">3.4454217133872205</cx:pt>
          <cx:pt idx="759">3.436239343537332</cx:pt>
          <cx:pt idx="760">3.4315713829447465</cx:pt>
          <cx:pt idx="761">3.4323452816745701</cx:pt>
          <cx:pt idx="762">3.4420190157973618</cx:pt>
          <cx:pt idx="763">3.4384811930324557</cx:pt>
          <cx:pt idx="764">3.4443284278800097</cx:pt>
          <cx:pt idx="765">3.45266933641255</cx:pt>
          <cx:pt idx="766">3.4510724025256128</cx:pt>
          <cx:pt idx="767">3.4595115839127337</cx:pt>
          <cx:pt idx="768">3.4514286416234672</cx:pt>
          <cx:pt idx="769">3.427923003218436</cx:pt>
          <cx:pt idx="770">3.4215844040979784</cx:pt>
          <cx:pt idx="771">3.4385917499938579</cx:pt>
          <cx:pt idx="772">3.4696889664152515</cx:pt>
          <cx:pt idx="773">3.4765680662359033</cx:pt>
          <cx:pt idx="774">3.4752905191263532</cx:pt>
          <cx:pt idx="775">3.4786809326093899</cx:pt>
          <cx:pt idx="776">3.4757941675060802</cx:pt>
          <cx:pt idx="777">3.4726002997322056</cx:pt>
          <cx:pt idx="778">3.480615679433948</cx:pt>
          <cx:pt idx="779">3.4894970886666825</cx:pt>
          <cx:pt idx="780">3.4771208510429203</cx:pt>
          <cx:pt idx="781">3.5037098002604226</cx:pt>
          <cx:pt idx="782">3.4799769058791723</cx:pt>
          <cx:pt idx="783">3.4645173574429395</cx:pt>
          <cx:pt idx="784">3.46451735744294</cx:pt>
          <cx:pt idx="785">3.4664766724811442</cx:pt>
          <cx:pt idx="786">3.4583691619782324</cx:pt>
          <cx:pt idx="787">3.4690071984865987</cx:pt>
          <cx:pt idx="788">3.4658133307127241</cx:pt>
          <cx:pt idx="789">3.4797005134756649</cx:pt>
          <cx:pt idx="790">3.4815676977126997</cx:pt>
          <cx:pt idx="791">3.480756946662408</cx:pt>
          <cx:pt idx="792">3.4649964376090212</cx:pt>
          <cx:pt idx="793">3.4582033265361276</cx:pt>
          <cx:pt idx="794">3.4661204333832889</cx:pt>
          <cx:pt idx="795">3.4661142913298777</cx:pt>
          <cx:pt idx="796">3.466875905952878</cx:pt>
          <cx:pt idx="797">3.4660037343684742</cx:pt>
          <cx:pt idx="798">3.4733189199813279</cx:pt>
          <cx:pt idx="799">3.4822617497481763</cx:pt>
          <cx:pt idx="800">3.4952337665528339</cx:pt>
          <cx:pt idx="801">3.5043547158686095</cx:pt>
          <cx:pt idx="802">3.5128491757364322</cx:pt>
          <cx:pt idx="803">3.5050426258506748</cx:pt>
          <cx:pt idx="804">3.4861005331302368</cx:pt>
          <cx:pt idx="805">3.4949573741493261</cx:pt>
          <cx:pt idx="806">3.4867454487384228</cx:pt>
          <cx:pt idx="807">3.4997051814362585</cx:pt>
          <cx:pt idx="808">3.4856767314448578</cx:pt>
          <cx:pt idx="809">3.4836498538191298</cx:pt>
          <cx:pt idx="810">3.4867638748986569</cx:pt>
          <cx:pt idx="811">3.4937105373068338</cx:pt>
          <cx:pt idx="812">3.480308576763385</cx:pt>
          <cx:pt idx="813">3.4915239662924127</cx:pt>
          <cx:pt idx="814">3.4972606441785632</cx:pt>
          <cx:pt idx="815">3.4930779058054697</cx:pt>
          <cx:pt idx="816">3.4922548706483556</cx:pt>
          <cx:pt idx="817">3.4940114979239865</cx:pt>
          <cx:pt idx="818">3.4737672898803531</cx:pt>
          <cx:pt idx="819">3.4777473404908736</cx:pt>
          <cx:pt idx="820">3.446944942633221</cx:pt>
          <cx:pt idx="821">3.4653219664398196</cx:pt>
          <cx:pt idx="822">3.4514532098371129</cx:pt>
          <cx:pt idx="823">3.480112031054222</cx:pt>
          <cx:pt idx="824">3.4641795445053187</cx:pt>
          <cx:pt idx="825">3.4562624376581574</cx:pt>
          <cx:pt idx="826">3.4665442350686675</cx:pt>
          <cx:pt idx="827">3.4608259833427506</cx:pt>
          <cx:pt idx="828">3.4624106331228659</cx:pt>
          <cx:pt idx="829">3.4624659116035676</cx:pt>
          <cx:pt idx="830">3.4865427609758495</cx:pt>
          <cx:pt idx="831">3.4819116527037322</cx:pt>
          <cx:pt idx="832">3.4690133405400099</cx:pt>
          <cx:pt idx="833">3.4625826106183824</cx:pt>
          <cx:pt idx="834">3.450372208436725</cx:pt>
          <cx:pt idx="835">3.4585411394737493</cx:pt>
          <cx:pt idx="836">3.4539223153084544</cx:pt>
          <cx:pt idx="837">3.4680367540476134</cx:pt>
          <cx:pt idx="838">3.4613910522565905</cx:pt>
          <cx:pt idx="839">3.4615998820725746</cx:pt>
          <cx:pt idx="840">3.45835687787141</cx:pt>
          <cx:pt idx="841">3.4674041225462497</cx:pt>
          <cx:pt idx="842">3.4552735670589394</cx:pt>
          <cx:pt idx="843">3.444082745743557</cx:pt>
          <cx:pt idx="844">3.4483944672382871</cx:pt>
          <cx:pt idx="845">3.4664459622140869</cx:pt>
          <cx:pt idx="846">3.479829496597302</cx:pt>
          <cx:pt idx="847">3.483791121047588</cx:pt>
          <cx:pt idx="848">3.4953443235142365</cx:pt>
          <cx:pt idx="849">3.4953197553005917</cx:pt>
          <cx:pt idx="850">3.4910326020195068</cx:pt>
          <cx:pt idx="851">3.5079171068471608</cx:pt>
          <cx:pt idx="852">3.4904491069454342</cx:pt>
          <cx:pt idx="853">3.5186534162101073</cx:pt>
          <cx:pt idx="854">3.5089735400339044</cx:pt>
          <cx:pt idx="855">3.5032307200943413</cx:pt>
          <cx:pt idx="856">3.5030157482249469</cx:pt>
          <cx:pt idx="857">3.488661769402746</cx:pt>
          <cx:pt idx="858">3.4735216077439008</cx:pt>
          <cx:pt idx="859">3.4903754023044984</cx:pt>
          <cx:pt idx="860">3.4828943812495394</cx:pt>
          <cx:pt idx="861">3.4577365304768692</cx:pt>
          <cx:pt idx="862">3.4489841043657714</cx:pt>
          <cx:pt idx="863">3.4853143502935904</cx:pt>
          <cx:pt idx="864">3.4892944009041105</cx:pt>
          <cx:pt idx="865">3.5034395499103259</cx:pt>
          <cx:pt idx="866">3.528124462570327</cx:pt>
          <cx:pt idx="867">3.5106687467754223</cx:pt>
          <cx:pt idx="868">3.5166511067980251</cx:pt>
          <cx:pt idx="869">3.5120814190600207</cx:pt>
          <cx:pt idx="870">3.5121735498611897</cx:pt>
          <cx:pt idx="871">3.4866840282043099</cx:pt>
          <cx:pt idx="872">3.4870955457828665</cx:pt>
          <cx:pt idx="873">3.5072721912389757</cx:pt>
          <cx:pt idx="874">3.5100606834877044</cx:pt>
          <cx:pt idx="875">3.4922487285949444</cx:pt>
          <cx:pt idx="876">3.4745104783431202</cx:pt>
          <cx:pt idx="877">3.4493894798909177</cx:pt>
          <cx:pt idx="878">3.4535230818367206</cx:pt>
          <cx:pt idx="879">3.4499422646979347</cx:pt>
          <cx:pt idx="880">3.4380512492936646</cx:pt>
          <cx:pt idx="881">3.4405449229786509</cx:pt>
          <cx:pt idx="882">3.4464351522000842</cx:pt>
          <cx:pt idx="883">3.4439107682480419</cx:pt>
          <cx:pt idx="884">3.4195636685256621</cx:pt>
          <cx:pt idx="885">3.3907574380266814</cx:pt>
          <cx:pt idx="886">3.4184888091786845</cx:pt>
          <cx:pt idx="887">3.4271859568090806</cx:pt>
          <cx:pt idx="888">3.4174937965260552</cx:pt>
          <cx:pt idx="889">3.4462570326511561</cx:pt>
          <cx:pt idx="890">3.4603837554971379</cx:pt>
          <cx:pt idx="891">3.4690809031275336</cx:pt>
          <cx:pt idx="892">3.4715008721715845</cx:pt>
          <cx:pt idx="893">3.4861742377711717</cx:pt>
          <cx:pt idx="894">3.4614831830577599</cx:pt>
          <cx:pt idx="895">3.4675392477212976</cx:pt>
          <cx:pt idx="896">3.4685526865341623</cx:pt>
          <cx:pt idx="897">3.4565572562219002</cx:pt>
          <cx:pt idx="898">3.4688782153649611</cx:pt>
          <cx:pt idx="899">3.4527000466796061</cx:pt>
          <cx:pt idx="900">3.4475284377072946</cx:pt>
          <cx:pt idx="901">3.4413556740289422</cx:pt>
          <cx:pt idx="902">3.4661265754367006</cx:pt>
          <cx:pt idx="903">3.4487937007100218</cx:pt>
          <cx:pt idx="904">3.45821561064295</cx:pt>
          <cx:pt idx="905">3.4698670859641805</cx:pt>
          <cx:pt idx="906">3.4963516202736904</cx:pt>
          <cx:pt idx="907">3.4983477876323614</cx:pt>
          <cx:pt idx="908">3.5158833501216131</cx:pt>
          <cx:pt idx="909">3.500393091418323</cx:pt>
          <cx:pt idx="910">3.4872736653317937</cx:pt>
          <cx:pt idx="911">3.4835208706974923</cx:pt>
          <cx:pt idx="912">3.4920706090460167</cx:pt>
          <cx:pt idx="913">3.4937842419477683</cx:pt>
          <cx:pt idx="914">3.5064552981352732</cx:pt>
          <cx:pt idx="915">3.5071862024912175</cx:pt>
          <cx:pt idx="916">3.5247831855145821</cx:pt>
          <cx:pt idx="917">3.4910018917524512</cx:pt>
          <cx:pt idx="918">3.4846878608456384</cx:pt>
          <cx:pt idx="919">3.4926602461735015</cx:pt>
          <cx:pt idx="920">3.4821327666265391</cx:pt>
          <cx:pt idx="921">3.4506240326265885</cx:pt>
          <cx:pt idx="922">3.4445741100164615</cx:pt>
          <cx:pt idx="923">3.4375353168071157</cx:pt>
          <cx:pt idx="924">3.4211483183057765</cx:pt>
          <cx:pt idx="925">3.422941797901875</cx:pt>
          <cx:pt idx="926">3.3978146573962618</cx:pt>
          <cx:pt idx="927">3.3883190428223968</cx:pt>
          <cx:pt idx="928">3.389111367712454</cx:pt>
          <cx:pt idx="929">3.385573544947547</cx:pt>
          <cx:pt idx="930">3.4023167825467415</cx:pt>
          <cx:pt idx="931">3.4242684814387148</cx:pt>
          <cx:pt idx="932">3.4309694617104389</cx:pt>
          <cx:pt idx="933">3.4428543350612979</cx:pt>
          <cx:pt idx="934">3.4542785544063097</cx:pt>
          <cx:pt idx="935">3.4292558288086883</cx:pt>
          <cx:pt idx="936">3.4304043927966004</cx:pt>
          <cx:pt idx="937">3.4152212367638755</cx:pt>
          <cx:pt idx="938">3.4295076529985509</cx:pt>
          <cx:pt idx="939">3.4315161044640443</cx:pt>
          <cx:pt idx="940">3.439746456035182</cx:pt>
          <cx:pt idx="941">3.4494754686386755</cx:pt>
          <cx:pt idx="942">3.4515576247451052</cx:pt>
          <cx:pt idx="943">3.4363007640714445</cx:pt>
          <cx:pt idx="944">3.4316942240129715</cx:pt>
          <cx:pt idx="945">3.4172665405498357</cx:pt>
          <cx:pt idx="946">3.4451637471439449</cx:pt>
          <cx:pt idx="947">3.4301464265533248</cx:pt>
          <cx:pt idx="948">3.4612129327076624</cx:pt>
          <cx:pt idx="949">3.4724467483969232</cx:pt>
          <cx:pt idx="950">3.4812913053091901</cx:pt>
          <cx:pt idx="951">3.4641611183450847</cx:pt>
          <cx:pt idx="952">3.4624413433899215</cx:pt>
          <cx:pt idx="953">3.474074392550917</cx:pt>
          <cx:pt idx="954">3.4827838242881359</cx:pt>
          <cx:pt idx="955">3.4872245289045027</cx:pt>
          <cx:pt idx="956">3.4840368031840407</cx:pt>
          <cx:pt idx="957">3.4898901800850064</cx:pt>
          <cx:pt idx="958">3.4805665430066588</cx:pt>
          <cx:pt idx="959">3.4767277596245987</cx:pt>
          <cx:pt idx="960">3.4860084023290678</cx:pt>
          <cx:pt idx="961">3.4718079748421502</cx:pt>
          <cx:pt idx="962">3.4590263616932426</cx:pt>
          <cx:pt idx="963">3.451963000270251</cx:pt>
          <cx:pt idx="964">3.4325663955973771</cx:pt>
          <cx:pt idx="965">3.4275913323342269</cx:pt>
          <cx:pt idx="966">3.4370500945876228</cx:pt>
          <cx:pt idx="967">3.4345564209026369</cx:pt>
          <cx:pt idx="968">3.4295383632656069</cx:pt>
          <cx:pt idx="969">3.3956465125420729</cx:pt>
          <cx:pt idx="970">3.3874775815050491</cx:pt>
          <cx:pt idx="971">3.3953148416578629</cx:pt>
          <cx:pt idx="972">3.3795911849249443</cx:pt>
          <cx:pt idx="973">3.3927474633319412</cx:pt>
          <cx:pt idx="974">3.4007567009802719</cx:pt>
          <cx:pt idx="975">3.3848487826450144</cx:pt>
          <cx:pt idx="976">3.3916418937179085</cx:pt>
          <cx:pt idx="977">3.3686337616391921</cx:pt>
          <cx:pt idx="978">3.3814706532688019</cx:pt>
          <cx:pt idx="979">3.3556371766208892</cx:pt>
          <cx:pt idx="980">3.3399442301550266</cx:pt>
          <cx:pt idx="981">3.341700857430657</cx:pt>
          <cx:pt idx="982">3.3675589022922154</cx:pt>
          <cx:pt idx="983">3.388466452104268</cx:pt>
          <cx:pt idx="984">3.3598506252610378</cx:pt>
          <cx:pt idx="985">3.3448025944033613</cx:pt>
          <cx:pt idx="986">3.3336301992482134</cx:pt>
          <cx:pt idx="987">3.3625654128688307</cx:pt>
          <cx:pt idx="988">3.3584379529764394</cx:pt>
          <cx:pt idx="989">3.3700710021374345</cx:pt>
          <cx:pt idx="990">3.3772879148957071</cx:pt>
          <cx:pt idx="991">3.3701569908851923</cx:pt>
          <cx:pt idx="992">3.3622091737709745</cx:pt>
          <cx:pt idx="993">3.3633515957054754</cx:pt>
          <cx:pt idx="994">3.3754452988723185</cx:pt>
          <cx:pt idx="995">3.3877662580153789</cx:pt>
          <cx:pt idx="996">3.3895597376114779</cx:pt>
          <cx:pt idx="997">3.3831781441171405</cx:pt>
          <cx:pt idx="998">3.3775888755128602</cx:pt>
          <cx:pt idx="999">3.379296366361201</cx:pt>
          <cx:pt idx="1000">3.4038215856325085</cx:pt>
          <cx:pt idx="1001">3.4027651524457658</cx:pt>
          <cx:pt idx="1002">3.3964142692184849</cx:pt>
          <cx:pt idx="1003">3.4044726432941057</cx:pt>
          <cx:pt idx="1004">3.4205525391248806</cx:pt>
          <cx:pt idx="1005">3.4185133773923297</cx:pt>
          <cx:pt idx="1006">3.4395437682726087</cx:pt>
          <cx:pt idx="1007">3.4208412156352113</cx:pt>
          <cx:pt idx="1008">3.432904208534997</cx:pt>
          <cx:pt idx="1009">3.441662776699506</cx:pt>
          <cx:pt idx="1010">3.4530992801513398</cx:pt>
          <cx:pt idx="1011">3.4441503083310812</cx:pt>
          <cx:pt idx="1012">3.4387882957030191</cx:pt>
          <cx:pt idx="1013">3.434488858315111</cx:pt>
          <cx:pt idx="1014">3.43296562906911</cx:pt>
          <cx:pt idx="1015">3.4587131169692644</cx:pt>
          <cx:pt idx="1016">3.4558570621330116</cx:pt>
          <cx:pt idx="1017">3.4772006977372674</cx:pt>
          <cx:pt idx="1018">3.4619376950101959</cx:pt>
          <cx:pt idx="1019">3.478951182959487</cx:pt>
          <cx:pt idx="1020">3.4889381618062552</cx:pt>
          <cx:pt idx="1021">3.5036422376728984</cx:pt>
          <cx:pt idx="1022">3.5037957890081808</cx:pt>
          <cx:pt idx="1023">3.5287263838046332</cx:pt>
          <cx:pt idx="1024">3.5236837579539588</cx:pt>
          <cx:pt idx="1025">3.5065105766159741</cx:pt>
          <cx:pt idx="1026">3.4967815640124802</cx:pt>
          <cx:pt idx="1027">3.4873228017590838</cx:pt>
          <cx:pt idx="1028">3.494263322113849</cx:pt>
          <cx:pt idx="1029">3.4993182320713463</cx:pt>
          <cx:pt idx="1030">3.4907377834557654</cx:pt>
          <cx:pt idx="1031">3.4732390732869809</cx:pt>
          <cx:pt idx="1032">3.467035599341572</cx:pt>
          <cx:pt idx="1033">3.4641856865587308</cx:pt>
          <cx:pt idx="1034">3.4657703363388452</cx:pt>
          <cx:pt idx="1035">3.4410424293049657</cx:pt>
          <cx:pt idx="1036">3.4405756332457065</cx:pt>
          <cx:pt idx="1037">3.4359138147065327</cx:pt>
          <cx:pt idx="1038">3.440704616367344</cx:pt>
          <cx:pt idx="1039">3.4504152028106043</cx:pt>
          <cx:pt idx="1040">3.4725634474117397</cx:pt>
          <cx:pt idx="1041">3.5086480112031069</cx:pt>
          <cx:pt idx="1042">3.5544001670638545</cx:pt>
          <cx:pt idx="1043">3.5885929784045421</cx:pt>
          <cx:pt idx="1044">3.6054590570719616</cx:pt>
          <cx:pt idx="1045">3.6303589416013575</cx:pt>
          <cx:pt idx="1046">3.6524703338820244</cx:pt>
          <cx:pt idx="1047">3.7008819988698636</cx:pt>
          <cx:pt idx="1048">3.7244674839692413</cx:pt>
          <cx:pt idx="1049">3.7515969338869386</cx:pt>
          <cx:pt idx="1050">3.77188413630445</cx:pt>
          <cx:pt idx="1051">3.7937007100213753</cx:pt>
          <cx:pt idx="1052">3.8039947915387082</cx:pt>
          <cx:pt idx="1053">3.8377576591406051</cx:pt>
          <cx:pt idx="1054">3.8576517701397934</cx:pt>
          <cx:pt idx="1055">3.8920104169225862</cx:pt>
          <cx:pt idx="1056">3.933174458885095</cx:pt>
          <cx:pt idx="1057">3.9652052674250058</cx:pt>
          <cx:pt idx="1058">3.9967631378522461</cx:pt>
          <cx:pt idx="1059">4.0185858536225831</cx:pt>
          <cx:pt idx="1060">4.0371041446576417</cx:pt>
          <cx:pt idx="1061">4.0788578237476356</cx:pt>
          <cx:pt idx="1062">4.1203166842738863</cx:pt>
          <cx:pt idx="1063">4.1536066137631131</cx:pt>
          <cx:pt idx="1064">4.191171412426602</cx:pt>
          <cx:pt idx="1065">4.2189089256320171</cx:pt>
          <cx:pt idx="1066">4.2663378620740486</cx:pt>
          <cx:pt idx="1067">4.3018512148981642</cx:pt>
          <cx:pt idx="1068">4.3373829938825157</cx:pt>
          <cx:pt idx="1069">4.3835958037491105</cx:pt>
          <cx:pt idx="1070">4.407660369014569</cx:pt>
          <cx:pt idx="1071">4.4101417585927329</cx:pt>
          <cx:pt idx="1072">4.3986622607670203</cx:pt>
          <cx:pt idx="1073">4.4073041299167146</cx:pt>
          <cx:pt idx="1074">4.4146438837432127</cx:pt>
          <cx:pt idx="1075">4.4110446404441941</cx:pt>
          <cx:pt idx="1076">4.4118799597081306</cx:pt>
          <cx:pt idx="1077">4.411652703731912</cx:pt>
          <cx:pt idx="1078">4.4175429329533449</cx:pt>
          <cx:pt idx="1079">4.4230769230769234</cx:pt>
          <cx:pt idx="1080">4.4191460088936934</cx:pt>
          <cx:pt idx="1081">4.4312274279537123</cx:pt>
          <cx:pt idx="1082">4.4381556642016546</cx:pt>
          <cx:pt idx="1083">4.4385856079404453</cx:pt>
          <cx:pt idx="1084">4.3889148220032927</cx:pt>
          <cx:pt idx="1085">4.3463749600766519</cx:pt>
          <cx:pt idx="1086">4.3060585214849034</cx:pt>
          <cx:pt idx="1087">4.2682480406849619</cx:pt>
          <cx:pt idx="1088">4.2442019015797365</cx:pt>
          <cx:pt idx="1089">4.2070424784413927</cx:pt>
          <cx:pt idx="1090">4.1590607571923446</cx:pt>
          <cx:pt idx="1091">4.1211458614844121</cx:pt>
          <cx:pt idx="1092">4.0820455494680985</cx:pt>
          <cx:pt idx="1093">4.0381544357909736</cx:pt>
          <cx:pt idx="1094">3.9970026779352876</cx:pt>
          <cx:pt idx="1095">3.9443714222538886</cx:pt>
          <cx:pt idx="1096">3.9151229639092953</cx:pt>
          <cx:pt idx="1097">3.8675097658649249</cx:pt>
          <cx:pt idx="1098">3.8315787534088401</cx:pt>
          <cx:pt idx="1099">3.7977606073262424</cx:pt>
          <cx:pt idx="1100">3.7616330491609959</cx:pt>
          <cx:pt idx="1101">3.7152912561727645</cx:pt>
          <cx:pt idx="1102">3.6990455248998848</cx:pt>
          <cx:pt idx="1103">3.6896727513942458</cx:pt>
          <cx:pt idx="1104">3.6569540328722696</cx:pt>
          <cx:pt idx="1105">3.6070744171191307</cx:pt>
          <cx:pt idx="1106">3.5749760459916953</cx:pt>
          <cx:pt idx="1107">3.5294634302139887</cx:pt>
          <cx:pt idx="1108">3.4985504753949335</cx:pt>
          <cx:pt idx="1109">3.4659545979411828</cx:pt>
          <cx:pt idx="1110">3.436300764071444</cx:pt>
          <cx:pt idx="1111">3.4136734393042283</cx:pt>
          <cx:pt idx="1112">3.3775827334594508</cx:pt>
          <cx:pt idx="1113">3.3459880107117419</cx:pt>
          <cx:pt idx="1114">3.3201238237967723</cx:pt>
          <cx:pt idx="1115">3.325964916590916</cx:pt>
          <cx:pt idx="1116">3.3332678180969477</cx:pt>
          <cx:pt idx="1117">3.3463872441834766</cx:pt>
          <cx:pt idx="1118">3.3307864285187834</cx:pt>
          <cx:pt idx="1119">3.3367442203277404</cx:pt>
          <cx:pt idx="1120">3.3664717588384154</cx:pt>
          <cx:pt idx="1121">3.3792165196668549</cx:pt>
          <cx:pt idx="1122">3.3983490160430434</cx:pt>
          <cx:pt idx="1123">3.3925324914625454</cx:pt>
          <cx:pt idx="1124">3.4014753212293933</cx:pt>
          <cx:pt idx="1125">3.426018966660934</cx:pt>
          <cx:pt idx="1126">3.4309018991229148</cx:pt>
          <cx:pt idx="1127">3.4282731002628801</cx:pt>
          <cx:pt idx="1128">3.4423261184679266</cx:pt>
          <cx:pt idx="1129">3.4282485320492349</cx:pt>
          <cx:pt idx="1130">3.4124388865685575</cx:pt>
          <cx:pt idx="1131">3.4166953295825868</cx:pt>
          <cx:pt idx="1132">3.4065977937744152</cx:pt>
          <cx:pt idx="1133">3.3865378473331211</cx:pt>
          <cx:pt idx="1134">3.3727857897452282</cx:pt>
          <cx:pt idx="1135">3.3702184114193066</cx:pt>
          <cx:pt idx="1136">3.3845355379210389</cx:pt>
          <cx:pt idx="1137">3.3921271159374009</cx:pt>
          <cx:pt idx="1138">3.3875451440925732</cx:pt>
          <cx:pt idx="1139">3.3666191681202866</cx:pt>
          <cx:pt idx="1140">3.3723619880598488</cx:pt>
          <cx:pt idx="1141">3.3681485394196988</cx:pt>
          <cx:pt idx="1142">3.3549369825320006</cx:pt>
          <cx:pt idx="1143">3.3588433285015848</cx:pt>
          <cx:pt idx="1144">3.3255779672260037</cx:pt>
          <cx:pt idx="1145">3.3175687295776726</cx:pt>
          <cx:pt idx="1146">3.3387956661671132</cx:pt>
          <cx:pt idx="1147">3.3541692258555877</cx:pt>
          <cx:pt idx="1148">3.354193794069233</cx:pt>
          <cx:pt idx="1149">3.3592609881335522</cx:pt>
          <cx:pt idx="1150">3.3629707883939752</cx:pt>
          <cx:pt idx="1151">3.3372048743335871</cx:pt>
          <cx:pt idx="1152">3.3271626170061173</cx:pt>
          <cx:pt idx="1153">3.3113775397390852</cx:pt>
          <cx:pt idx="1154">3.3362282878411906</cx:pt>
          <cx:pt idx="1155">3.3276048448517308</cx:pt>
          <cx:pt idx="1156">3.3319288504532829</cx:pt>
          <cx:pt idx="1157">3.3683389430754485</cx:pt>
          <cx:pt idx="1158">3.3797385942068146</cx:pt>
          <cx:pt idx="1159">3.3558091541164039</cx:pt>
          <cx:pt idx="1160">3.3530022357074412</cx:pt>
          <cx:pt idx="1161">3.3710967250571207</cx:pt>
          <cx:pt idx="1162">3.3718890499471779</cx:pt>
          <cx:pt idx="1163">3.4010023831167233</cx:pt>
          <cx:pt idx="1164">3.39179544505319</cx:pt>
          <cx:pt idx="1165">3.388589293172493</cx:pt>
          <cx:pt idx="1166">3.379173525292976</cx:pt>
          <cx:pt idx="1167">3.3586283566321895</cx:pt>
          <cx:pt idx="1168">3.3652372061027447</cx:pt>
          <cx:pt idx="1169">3.3798552932216301</cx:pt>
          <cx:pt idx="1170">3.408870353536595</cx:pt>
          <cx:pt idx="1171">3.3877478318551466</cx:pt>
          <cx:pt idx="1172">3.3731420288430836</cx:pt>
          <cx:pt idx="1173">3.3760595042134494</cx:pt>
          <cx:pt idx="1174">3.3789155590497026</cx:pt>
          <cx:pt idx="1175">3.382287546372504</cx:pt>
          <cx:pt idx="1176">3.3805677714173412</cx:pt>
          <cx:pt idx="1177">3.3676326069331508</cx:pt>
          <cx:pt idx="1178">3.3608886322875464</cx:pt>
          <cx:pt idx="1179">3.342788000884457</cx:pt>
          <cx:pt idx="1180">3.3533953271257664</cx:pt>
          <cx:pt idx="1181">3.3220340024076864</cx:pt>
          <cx:pt idx="1182">3.3277031177063123</cx:pt>
          <cx:pt idx="1183">3.3340662850404161</cx:pt>
          <cx:pt idx="1184">3.3447288897624263</cx:pt>
          <cx:pt idx="1185">3.3171940643195841</cx:pt>
          <cx:pt idx="1186">3.3266589686263925</cx:pt>
          <cx:pt idx="1187">3.3168316831683176</cx:pt>
          <cx:pt idx="1188">3.3094120826474711</cx:pt>
          <cx:pt idx="1189">3.2952116551605539</cx:pt>
          <cx:pt idx="1190">3.3239318969117764</cx:pt>
          <cx:pt idx="1191">3.3484202638626153</cx:pt>
          <cx:pt idx="1192">3.3655934452006</cx:pt>
          <cx:pt idx="1193">3.3847320836301993</cx:pt>
          <cx:pt idx="1194">3.3795174802840089</cx:pt>
          <cx:pt idx="1195">3.4077954941896178</cx:pt>
          <cx:pt idx="1196">3.4249318232071349</cx:pt>
          <cx:pt idx="1197">3.4212035967864787</cx:pt>
          <cx:pt idx="1198">3.4260251087143456</cx:pt>
          <cx:pt idx="1199">3.4026484534309516</cx:pt>
          <cx:pt idx="1200">3.3923298036999734</cx:pt>
          <cx:pt idx="1201">3.3695489275974748</cx:pt>
          <cx:pt idx="1202">3.3859789204726933</cx:pt>
          <cx:pt idx="1203">3.3958799105717028</cx:pt>
          <cx:pt idx="1204">3.3898852664422776</cx:pt>
          <cx:pt idx="1205">3.3792103776134441</cx:pt>
          <cx:pt idx="1206">3.3865255632262987</cx:pt>
          <cx:pt idx="1207">3.4081455912340619</cx:pt>
          <cx:pt idx="1208">3.4104304351030645</cx:pt>
          <cx:pt idx="1209">3.405332530771688</cx:pt>
          <cx:pt idx="1210">3.4375598850207609</cx:pt>
          <cx:pt idx="1211">3.4209026361693251</cx:pt>
          <cx:pt idx="1212">3.4209026361693247</cx:pt>
          <cx:pt idx="1213">3.4176289217011036</cx:pt>
          <cx:pt idx="1214">3.4230093604893987</cx:pt>
          <cx:pt idx="1215">3.4267805812839347</cx:pt>
          <cx:pt idx="1216">3.4589956514261848</cx:pt>
          <cx:pt idx="1217">3.4668144854187655</cx:pt>
          <cx:pt idx="1218">3.4573864334324251</cx:pt>
          <cx:pt idx="1219">3.4556543743704395</cx:pt>
          <cx:pt idx="1220">3.4788959044787853</cx:pt>
          <cx:pt idx="1221">3.4648613124339724</cx:pt>
          <cx:pt idx="1222">3.4495675994398449</cx:pt>
          <cx:pt idx="1223">3.4103690145689507</cx:pt>
          <cx:pt idx="1224">3.3909601257892539</cx:pt>
          <cx:pt idx="1225">3.4037847333120408</cx:pt>
          <cx:pt idx="1226">3.3877846841756138</cx:pt>
          <cx:pt idx="1227">3.3706483551580964</cx:pt>
          <cx:pt idx="1228">3.3881409232734687</cx:pt>
          <cx:pt idx="1229">3.4094231383436107</cx:pt>
          <cx:pt idx="1230">3.4221617571186398</cx:pt>
          <cx:pt idx="1231">3.43708694690809</cx:pt>
          <cx:pt idx="1232">3.4830417905314106</cx:pt>
          <cx:pt idx="1233">3.509053386728251</cx:pt>
          <cx:pt idx="1234">3.5396101024494504</cx:pt>
          <cx:pt idx="1235">3.5849384566248186</cx:pt>
          <cx:pt idx="1236">3.6186890401198921</cx:pt>
          <cx:pt idx="1237">3.6609770778566681</cx:pt>
          <cx:pt idx="1238">3.6687897697958376</cx:pt>
          <cx:pt idx="1239">3.7022148244601132</cx:pt>
          <cx:pt idx="1240">3.7278947497727439</cx:pt>
          <cx:pt idx="1241">3.7401542883816914</cx:pt>
          <cx:pt idx="1242">3.7863548141414629</cx:pt>
          <cx:pt idx="1243">3.8336179151413896</cx:pt>
          <cx:pt idx="1244">3.8775765914060383</cx:pt>
          <cx:pt idx="1245">3.9115175785568632</cx:pt>
          <cx:pt idx="1246">3.9288136009630725</cx:pt>
          <cx:pt idx="1247">3.9441994447583713</cx:pt>
          <cx:pt idx="1248">3.9767891801587094</cx:pt>
          <cx:pt idx="1249">4.0149006215758041</cx:pt>
          <cx:pt idx="1250">4.0393091418322973</cx:pt>
          <cx:pt idx="1251">4.046532196643982</cx:pt>
          <cx:pt idx="1252">4.06864973097806</cx:pt>
          <cx:pt idx="1253">4.1154337518119055</cx:pt>
          <cx:pt idx="1254">4.157199715008721</cx:pt>
          <cx:pt idx="1255">4.1930201705034014</cx:pt>
          <cx:pt idx="1256">4.1927253519396599</cx:pt>
          <cx:pt idx="1257">4.2366717440974861</cx:pt>
          <cx:pt idx="1258">4.2854826425570591</cx:pt>
          <cx:pt idx="1259">4.3070228238704757</cx:pt>
          <cx:pt idx="1260">4.3272301795936414</cx:pt>
          <cx:pt idx="1261">4.3633823059725323</cx:pt>
          <cx:pt idx="1262">4.3897317151069934</cx:pt>
          <cx:pt idx="1263">4.3916664619315533</cx:pt>
          <cx:pt idx="1264">4.405344814878509</cx:pt>
          <cx:pt idx="1265">4.407420828931528</cx:pt>
          <cx:pt idx="1266">4.4087720806820139</cx:pt>
          <cx:pt idx="1267">4.3991167727194549</cx:pt>
          <cx:pt idx="1268">4.4042576714247108</cx:pt>
          <cx:pt idx="1269">4.4198830553030488</cx:pt>
          <cx:pt idx="1270">4.4137410018917524</cx:pt>
          <cx:pt idx="1271">4.4263015011178535</cx:pt>
          <cx:pt idx="1272">4.4328366459474733</cx:pt>
          <cx:pt idx="1273">4.4386531705279717</cx:pt>
          <cx:pt idx="1274">4.4443468540402433</cx:pt>
          <cx:pt idx="1275">4.4313994054492296</cx:pt>
          <cx:pt idx="1276">4.4214861312433973</cx:pt>
          <cx:pt idx="1277">4.3979006461440191</cx:pt>
          <cx:pt idx="1278">4.3615826843230225</cx:pt>
          <cx:pt idx="1279">4.3256393877601154</cx:pt>
          <cx:pt idx="1280">4.3109721642139398</cx:pt>
          <cx:pt idx="1281">4.2722772277227721</cx:pt>
          <cx:pt idx="1282">4.2460875119770041</cx:pt>
          <cx:pt idx="1283">4.2263100999926291</cx:pt>
          <cx:pt idx="1284">4.1899122914772873</cx:pt>
          <cx:pt idx="1285">4.1529371299412814</cx:pt>
          <cx:pt idx="1286">4.1287865759280642</cx:pt>
          <cx:pt idx="1287">4.1018843819865864</cx:pt>
          <cx:pt idx="1288">4.0621207282018528</cx:pt>
          <cx:pt idx="1289">4.0232415301083462</cx:pt>
          <cx:pt idx="1290">4.0137643416947162</cx:pt>
          <cx:pt idx="1291">3.978607227968455</cx:pt>
          <cx:pt idx="1292">3.9622386556273494</cx:pt>
          <cx:pt idx="1293">3.9376950101958088</cx:pt>
          <cx:pt idx="1294">3.9137041495712848</cx:pt>
          <cx:pt idx="1295">3.8788787067292345</cx:pt>
          <cx:pt idx="1296">3.8384517111760812</cx:pt>
          <cx:pt idx="1297">3.8053460432891932</cx:pt>
          <cx:pt idx="1298">3.7769451883153584</cx:pt>
          <cx:pt idx="1299">3.7447485443333424</cx:pt>
          <cx:pt idx="1300">3.7156597793774431</cx:pt>
          <cx:pt idx="1301">3.6796673463872454</cx:pt>
          <cx:pt idx="1302">3.6344249809596345</cx:pt>
          <cx:pt idx="1303">3.5942190993292877</cx:pt>
          <cx:pt idx="1304">3.5699272780876106</cx:pt>
          <cx:pt idx="1305">3.5478036017001209</cx:pt>
          <cx:pt idx="1306">3.5122104021816578</cx:pt>
          <cx:pt idx="1307">3.4886924796698038</cx:pt>
          <cx:pt idx="1308">3.4874272166670761</cx:pt>
          <cx:pt idx="1309">3.4834164557894995</cx:pt>
          <cx:pt idx="1310">3.4722993391150525</cx:pt>
          <cx:pt idx="1311">3.4716912758273346</cx:pt>
          <cx:pt idx="1312">3.4625641844581483</cx:pt>
          <cx:pt idx="1313">3.4747008819988698</cx:pt>
          <cx:pt idx="1314">3.4825872785789751</cx:pt>
          <cx:pt idx="1315">3.4965604500896745</cx:pt>
          <cx:pt idx="1316">3.495110925484608</cx:pt>
          <cx:pt idx="1317">3.4778149030783974</cx:pt>
          <cx:pt idx="1318">3.4634424980959642</cx:pt>
          <cx:pt idx="1319">3.4683807090386458</cx:pt>
          <cx:pt idx="1320">3.4740928187111519</cx:pt>
          <cx:pt idx="1321">3.4519691423236614</cx:pt>
          <cx:pt idx="1322">3.4471046360219146</cx:pt>
          <cx:pt idx="1323">3.4522332506203481</cx:pt>
          <cx:pt idx="1324">3.4638785838881656</cx:pt>
          <cx:pt idx="1325">3.4582217526963612</cx:pt>
          <cx:pt idx="1326">3.464756897525981</cx:pt>
          <cx:pt idx="1327">3.4606847161142906</cx:pt>
          <cx:pt idx="1328">3.460162641574331</cx:pt>
          <cx:pt idx="1329">3.4572083138834975</cx:pt>
          <cx:pt idx="1330">3.4528106036410091</cx:pt>
          <cx:pt idx="1331">3.434709972237918</cx:pt>
          <cx:pt idx="1332">3.4360366557747586</cx:pt>
          <cx:pt idx="1333">3.4510539763653787</cx:pt>
          <cx:pt idx="1334">3.4411407021595459</cx:pt>
          <cx:pt idx="1335">3.4243606122398837</cx:pt>
          <cx:pt idx="1336">3.4110630666044268</cx:pt>
          <cx:pt idx="1337">3.4161609709358025</cx:pt>
          <cx:pt idx="1338">3.4072119991155438</cx:pt>
          <cx:pt idx="1339">3.4026300272707166</cx:pt>
          <cx:pt idx="1340">3.394700636316732</cx:pt>
          <cx:pt idx="1341">3.4052772522909849</cx:pt>
          <cx:pt idx="1342">3.3647212736161949</cx:pt>
          <cx:pt idx="1343">3.3761332088543838</cx:pt>
          <cx:pt idx="1344">3.3723865562734932</cx:pt>
          <cx:pt idx="1345">3.3548571358376527</cx:pt>
          <cx:pt idx="1346">3.3378067955678943</cx:pt>
          <cx:pt idx="1347">3.3422720683979068</cx:pt>
          <cx:pt idx="1348">3.3510429206692383</cx:pt>
          <cx:pt idx="1349">3.3635911357885164</cx:pt>
          <cx:pt idx="1350">3.3579281625433013</cx:pt>
          <cx:pt idx="1351">3.3702368375795393</cx:pt>
          <cx:pt idx="1352">3.3894123283296076</cx:pt>
          <cx:pt idx="1353">3.4153072255116337</cx:pt>
          <cx:pt idx="1354">3.3857270962828299</cx:pt>
          <cx:pt idx="1355">3.3540341006805399</cx:pt>
          <cx:pt idx="1356">3.3595250964302386</cx:pt>
          <cx:pt idx="1357">3.3475358081713877</cx:pt>
          <cx:pt idx="1358">3.3652249219959214</cx:pt>
          <cx:pt idx="1359">3.3647028474559608</cx:pt>
          <cx:pt idx="1360">3.3619450654742895</cx:pt>
          <cx:pt idx="1361">3.3653968994914383</cx:pt>
          <cx:pt idx="1362">3.3558951428641621</cx:pt>
          <cx:pt idx="1363">3.3534935999803461</cx:pt>
          <cx:pt idx="1364">3.3509999262953594</cx:pt>
          <cx:pt idx="1365">3.3502874480996492</cx:pt>
          <cx:pt idx="1366">3.3598506252610378</cx:pt>
          <cx:pt idx="1367">3.3749293663857705</cx:pt>
          <cx:pt idx="1368">3.3822998304793264</cx:pt>
          <cx:pt idx="1369">3.3760472201066269</cx:pt>
          <cx:pt idx="1370">3.3698560302680405</cx:pt>
          <cx:pt idx="1371">3.3997801144878772</cx:pt>
          <cx:pt idx="1372">3.408716802201313</cx:pt>
          <cx:pt idx="1373">3.4126538584379538</cx:pt>
          <cx:pt idx="1374">3.4295506473724298</cx:pt>
          <cx:pt idx="1375">3.4494386163182078</cx:pt>
          <cx:pt idx="1376">3.4551814362577704</cx:pt>
          <cx:pt idx="1377">3.4448873547404371</cx:pt>
          <cx:pt idx="1378">3.4370808048546793</cx:pt>
          <cx:pt idx="1379">3.4231874800383268</cx:pt>
          <cx:pt idx="1380">3.4356558484632584</cx:pt>
          <cx:pt idx="1381">3.4212957275876477</cx:pt>
          <cx:pt idx="1382">3.3916664619315537</cx:pt>
          <cx:pt idx="1383">3.3783627742426856</cx:pt>
          <cx:pt idx="1384">3.3636218460555738</cx:pt>
          <cx:pt idx="1385">3.3642483355035262</cx:pt>
          <cx:pt idx="1386">3.3781048079994109</cx:pt>
          <cx:pt idx="1387">3.3480333144977035</cx:pt>
          <cx:pt idx="1388">3.3383534383215001</cx:pt>
          <cx:pt idx="1389">3.3473822568361067</cx:pt>
          <cx:pt idx="1390">3.3403803159472285</cx:pt>
          <cx:pt idx="1391">3.3472532737144687</cx:pt>
          <cx:pt idx="1392">3.341258629585043</cx:pt>
          <cx:pt idx="1393">3.3499680613222611</cx:pt>
          <cx:pt idx="1394">3.3604095521214652</cx:pt>
          <cx:pt idx="1395">3.3589538854629875</cx:pt>
          <cx:pt idx="1396">3.3697638994668702</cx:pt>
          <cx:pt idx="1397">3.3822998304793259</cx:pt>
          <cx:pt idx="1398">3.3713546913003958</cx:pt>
          <cx:pt idx="1399">3.360059455077022</cx:pt>
          <cx:pt idx="1400">3.3834422524138277</cx:pt>
          <cx:pt idx="1401">3.4011006559713048</cx:pt>
          <cx:pt idx="1402">3.3751566223619882</cx:pt>
          <cx:pt idx="1403">3.3606920865783851</cx:pt>
          <cx:pt idx="1404">3.3675834705058603</cx:pt>
          <cx:pt idx="1405">3.3520133651082236</cx:pt>
          <cx:pt idx="1406">3.3301046605901288</cx:pt>
          <cx:pt idx="1407">3.3404171682676953</cx:pt>
          <cx:pt idx="1408">3.3493599980345432</cx:pt>
          <cx:pt idx="1409">3.3548571358376535</cx:pt>
          <cx:pt idx="1410">3.3610483256762405</cx:pt>
          <cx:pt idx="1411">3.3510736309362943</cx:pt>
          <cx:pt idx="1412">3.3591811414392061</cx:pt>
          <cx:pt idx="1413">3.3771650738274821</cx:pt>
          <cx:pt idx="1414">3.3604464044419324</cx:pt>
          <cx:pt idx="1415">3.3630506350883227</cx:pt>
          <cx:pt idx="1416">3.3810837039038888</cx:pt>
          <cx:pt idx="1417">3.3975444070461638</cx:pt>
          <cx:pt idx="1418">3.4342861705525385</cx:pt>
          <cx:pt idx="1419">3.4432044321057407</cx:pt>
          <cx:pt idx="1420">3.4336228287841184</cx:pt>
          <cx:pt idx="1421">3.4225425644301399</cx:pt>
          <cx:pt idx="1422">3.4190661621993459</cx:pt>
          <cx:pt idx="1423">3.4017087192590223</cx:pt>
          <cx:pt idx="1424">3.4297349089747677</cx:pt>
          <cx:pt idx="1425">3.4284573618652181</cx:pt>
          <cx:pt idx="1426">3.4263199272780871</cx:pt>
          <cx:pt idx="1427">3.4097363830675862</cx:pt>
          <cx:pt idx="1428">3.3932019752843763</cx:pt>
          <cx:pt idx="1429">3.4084035574773348</cx:pt>
          <cx:pt idx="1430">3.4043498022258802</cx:pt>
          <cx:pt idx="1431">3.404577058202098</cx:pt>
          <cx:pt idx="1432">3.383528241161585</cx:pt>
          <cx:pt idx="1433">3.3797017418863469</cx:pt>
          <cx:pt idx="1434">3.3891912144068006</cx:pt>
          <cx:pt idx="1435">3.3797508783136379</cx:pt>
          <cx:pt idx="1436">3.3772633466820623</cx:pt>
          <cx:pt idx="1437">3.3626882539370557</cx:pt>
          <cx:pt idx="1438">3.3516325577967225</cx:pt>
          <cx:pt idx="1439">3.3639289487261381</cx:pt>
          <cx:pt idx="1440">3.3690329951109255</cx:pt>
          <cx:pt idx="1441">3.3799781342898561</cx:pt>
          <cx:pt idx="1442">3.3794744859101291</cx:pt>
          <cx:pt idx="1443">3.3820050119155836</cx:pt>
          <cx:pt idx="1444">3.3518598137729407</cx:pt>
          <cx:pt idx="1445">3.3764157433113033</cx:pt>
          <cx:pt idx="1446">3.3715512370095571</cx:pt>
          <cx:pt idx="1447">3.3650652286072273</cx:pt>
          <cx:pt idx="1448">3.3692786772473777</cx:pt>
          <cx:pt idx="1449">3.3383780065351449</cx:pt>
          <cx:pt idx="1450">3.3402451907721789</cx:pt>
          <cx:pt idx="1451">3.32272191238975</cx:pt>
          <cx:pt idx="1452">3.3540709530010075</cx:pt>
          <cx:pt idx="1453">3.3586836351128908</cx:pt>
          <cx:pt idx="1454">3.3782890696017494</cx:pt>
          <cx:pt idx="1455">3.3547097265557824</cx:pt>
          <cx:pt idx="1456">3.3476340810259688</cx:pt>
          <cx:pt idx="1457">3.3445630543203202</cx:pt>
          <cx:pt idx="1458">3.360077881237256</cx:pt>
          <cx:pt idx="1459">3.3628110950052825</cx:pt>
          <cx:pt idx="1460">3.3266773947866257</cx:pt>
          <cx:pt idx="1461">3.332549197847825</cx:pt>
          <cx:pt idx="1462">3.3247979264427689</cx:pt>
          <cx:pt idx="1463">3.3531987814166047</cx:pt>
          <cx:pt idx="1464">3.3806291919514546</cx:pt>
          <cx:pt idx="1465">3.3704210991818795</cx:pt>
          <cx:pt idx="1466">3.3854691300395556</cx:pt>
          <cx:pt idx="1467">3.379928997862566</cx:pt>
          <cx:pt idx="1468">3.3861570400216205</cx:pt>
          <cx:pt idx="1469">3.3894184703830188</cx:pt>
          <cx:pt idx="1470">3.3833992580399479</cx:pt>
          <cx:pt idx="1471">3.3722207208313892</cx:pt>
          <cx:pt idx="1472">3.3768641132103285</cx:pt>
          <cx:pt idx="1473">3.3876741272142108</cx:pt>
          <cx:pt idx="1474">3.3794806279635421</cx:pt>
          <cx:pt idx="1475">3.4119843746161225</cx:pt>
          <cx:pt idx="1476">3.4005417291108775</cx:pt>
          <cx:pt idx="1477">3.3999398078765695</cx:pt>
          <cx:pt idx="1478">3.4065118050266574</cx:pt>
          <cx:pt idx="1479">3.3717969191460098</cx:pt>
          <cx:pt idx="1480">3.38056162936393</cx:pt>
          <cx:pt idx="1481">3.3736333931159881</cx:pt>
          <cx:pt idx="1482">3.3860464830602175</cx:pt>
          <cx:pt idx="1483">3.3614291329877415</cx:pt>
          <cx:pt idx="1484">3.373614966955754</cx:pt>
          <cx:pt idx="1485">3.3951367221089361</cx:pt>
          <cx:pt idx="1486">3.4058361791514149</cx:pt>
          <cx:pt idx="1487">3.4090546151389334</cx:pt>
          <cx:pt idx="1488">3.3983920104169232</cx:pt>
          <cx:pt idx="1489">3.3897071468933491</cx:pt>
          <cx:pt idx="1490">3.3917401665724882</cx:pt>
          <cx:pt idx="1491">3.3987666756750117</cx:pt>
          <cx:pt idx="1492">3.3968196447436307</cx:pt>
          <cx:pt idx="1493">3.4186423605139677</cx:pt>
          <cx:pt idx="1494">3.4020588163034664</cx:pt>
          <cx:pt idx="1495">3.3885462987986141</cx:pt>
          <cx:pt idx="1496">3.3988956587966488</cx:pt>
          <cx:pt idx="1497">3.4043498022258798</cx:pt>
          <cx:pt idx="1498">3.3992518978945041</cx:pt>
          <cx:pt idx="1499">3.4063521116379629</cx:pt>
          <cx:pt idx="1500">3.4064810947595996</cx:pt>
          <cx:pt idx="1501">3.3962484337763796</cx:pt>
          <cx:pt idx="1502">3.4136857234110507</cx:pt>
          <cx:pt idx="1503">3.4082008697147632</cx:pt>
          <cx:pt idx="1504">3.3927290371717076</cx:pt>
          <cx:pt idx="1505">3.3899159767093336</cx:pt>
          <cx:pt idx="1506">3.3774844606048702</cx:pt>
          <cx:pt idx="1507">3.3815443579097368</cx:pt>
          <cx:pt idx="1508">3.3832518487580776</cx:pt>
          <cx:pt idx="1509">3.3772940569491201</cx:pt>
          <cx:pt idx="1510">3.3802422425865424</cx:pt>
          <cx:pt idx="1511">3.388607719332728</cx:pt>
          <cx:pt idx="1512">3.3851988796894581</cx:pt>
          <cx:pt idx="1513">3.4085509667592073</cx:pt>
          <cx:pt idx="1514">3.4213755742819942</cx:pt>
          <cx:pt idx="1515">3.4191890032675727</cx:pt>
          <cx:pt idx="1516">3.4006645701791025</cx:pt>
          <cx:pt idx="1517">3.3846338107756191</cx:pt>
          <cx:pt idx="1518">3.403385499840307</cx:pt>
          <cx:pt idx="1519">3.4135198879689459</cx:pt>
          <cx:pt idx="1520">3.4055106503206152</cx:pt>
          <cx:pt idx="1521">3.4089502002309411</cx:pt>
          <cx:pt idx="1522">3.4176227796476915</cx:pt>
          <cx:pt idx="1523">3.4164619315529565</cx:pt>
          <cx:pt idx="1524">3.4068189076972208</cx:pt>
          <cx:pt idx="1525">3.4187344913151358</cx:pt>
          <cx:pt idx="1526">3.4279475714320813</cx:pt>
          <cx:pt idx="1527">3.4348450974129667</cx:pt>
          <cx:pt idx="1528">3.4305886543989379</cx:pt>
          <cx:pt idx="1529">3.4518155909883785</cx:pt>
          <cx:pt idx="1530">3.4501326683536835</cx:pt>
          <cx:pt idx="1531">3.4333280102203765</cx:pt>
          <cx:pt idx="1532">3.4423629707883934</cx:pt>
          <cx:pt idx="1533">3.4488428371373114</cx:pt>
          <cx:pt idx="1534">3.4503722084367241</cx:pt>
          <cx:pt idx="1535">3.4492420706090456</cx:pt>
          <cx:pt idx="1536">3.4537871901334047</cx:pt>
          <cx:pt idx="1537">3.4542724123528972</cx:pt>
          <cx:pt idx="1538">3.444739945458565</cx:pt>
          <cx:pt idx="1539">3.4468282436184059</cx:pt>
          <cx:pt idx="1540">3.4532589735400334</cx:pt>
          <cx:pt idx="1541">3.4694125740117432</cx:pt>
          <cx:pt idx="1542">3.4650762843033682</cx:pt>
          <cx:pt idx="1543">3.4727784192811337</cx:pt>
          <cx:pt idx="1544">3.462459769550156</cx:pt>
          <cx:pt idx="1545">3.4644252266417705</cx:pt>
          <cx:pt idx="1546">3.4508021521755152</cx:pt>
          <cx:pt idx="1547">3.4539960199493898</cx:pt>
          <cx:pt idx="1548">3.4660098764218854</cx:pt>
          <cx:pt idx="1549">3.4534370930889624</cx:pt>
          <cx:pt idx="1550">3.4766847652507198</cx:pt>
          <cx:pt idx="1551">3.4925066948382186</cx:pt>
          <cx:pt idx="1552">3.4798786330245939</cx:pt>
          <cx:pt idx="1553">3.479706655529077</cx:pt>
          <cx:pt idx="1554">3.4958479718939639</cx:pt>
          <cx:pt idx="1555">3.4983416455789498</cx:pt>
          <cx:pt idx="1556">3.4771331351497423</cx:pt>
          <cx:pt idx="1557">3.4695415571333807</cx:pt>
          <cx:pt idx="1558">3.4592597597228703</cx:pt>
          <cx:pt idx="1559">3.4756836105446771</cx:pt>
          <cx:pt idx="1560">3.483760410780532</cx:pt>
          <cx:pt idx="1561">3.4854310493084046</cx:pt>
          <cx:pt idx="1562">3.4990418396678376</cx:pt>
          <cx:pt idx="1563">3.4963577623271003</cx:pt>
          <cx:pt idx="1564">3.4898164754440701</cx:pt>
          <cx:pt idx="1565">3.4725695894651492</cx:pt>
          <cx:pt idx="1566">3.4853819128811137</cx:pt>
          <cx:pt idx="1567">3.5012591209493156</cx:pt>
          <cx:pt idx="1568">3.5094464781465735</cx:pt>
          <cx:pt idx="1569">3.529346731199174</cx:pt>
          <cx:pt idx="1570">3.542460015232292</cx:pt>
          <cx:pt idx="1571">3.5448984104365771</cx:pt>
          <cx:pt idx="1572">3.5409060757192345</cx:pt>
          <cx:pt idx="1573">3.5284745596147706</cx:pt>
          <cx:pt idx="1574">3.5326818662015089</cx:pt>
          <cx:pt idx="1575">3.5143048423949095</cx:pt>
          <cx:pt idx="1576">3.5137643416947157</cx:pt>
          <cx:pt idx="1577">3.513487949291207</cx:pt>
          <cx:pt idx="1578">3.4972790703387959</cx:pt>
          <cx:pt idx="1579">3.5020145935189055</cx:pt>
          <cx:pt idx="1580">3.5231985357344664</cx:pt>
          <cx:pt idx="1581">3.5099378424194776</cx:pt>
          <cx:pt idx="1582">3.528314866226077</cx:pt>
          <cx:pt idx="1583">3.5391678746038377</cx:pt>
          <cx:pt idx="1584">3.555917254256443</cx:pt>
          <cx:pt idx="1585">3.552932216298553</cx:pt>
          <cx:pt idx="1586">3.5422327592560747</cx:pt>
          <cx:pt idx="1587">3.5446711544603597</cx:pt>
          <cx:pt idx="1588">3.5463786453086987</cx:pt>
          <cx:pt idx="1589">3.5457337297005131</cx:pt>
          <cx:pt idx="1590">3.5316254330147649</cx:pt>
          <cx:pt idx="1591">3.516552833943444</cx:pt>
          <cx:pt idx="1592">3.5372638380463366</cx:pt>
          <cx:pt idx="1593">3.5444930349114321</cx:pt>
          <cx:pt idx="1594">3.5341129646463414</cx:pt>
          <cx:pt idx="1595">3.5469314301157175</cx:pt>
          <cx:pt idx="1596">3.5568385622681387</cx:pt>
          <cx:pt idx="1597">3.561076579121933</cx:pt>
          <cx:pt idx="1598">3.5438726875168918</cx:pt>
          <cx:pt idx="1599">3.5412745989239132</cx:pt>
          <cx:pt idx="1600">3.5312139154362092</cx:pt>
          <cx:pt idx="1601">3.5245252192713075</cx:pt>
          <cx:pt idx="1602">3.5012836891629617</cx:pt>
          <cx:pt idx="1603">3.4913458467434846</cx:pt>
          <cx:pt idx="1604">3.5145873768518308</cx:pt>
          <cx:pt idx="1605">3.5072291968650973</cx:pt>
          <cx:pt idx="1606">3.5047478072869334</cx:pt>
          <cx:pt idx="1607">3.4953136132471814</cx:pt>
          <cx:pt idx="1608">3.5092130801169459</cx:pt>
          <cx:pt idx="1609">3.5219578409453858</cx:pt>
          <cx:pt idx="1610">3.4966402967840216</cx:pt>
          <cx:pt idx="1611">3.4905965162273054</cx:pt>
          <cx:pt idx="1612">3.4937228214136553</cx:pt>
          <cx:pt idx="1613">3.4556666584772624</cx:pt>
          <cx:pt idx="1614">3.4636636120187707</cx:pt>
          <cx:pt idx="1615">3.4278431565240894</cx:pt>
          <cx:pt idx="1616">3.4152089526570526</cx:pt>
          <cx:pt idx="1617">3.4088887796968281</cx:pt>
          <cx:pt idx="1618">3.409202024420805</cx:pt>
          <cx:pt idx="1619">3.3947681989042584</cx:pt>
          <cx:pt idx="1620">3.3881839176473485</cx:pt>
          <cx:pt idx="1621">3.3978392256099061</cx:pt>
          <cx:pt idx="1622">3.4008979682087324</cx:pt>
          <cx:pt idx="1623">3.3766245731272884</cx:pt>
          <cx:pt idx="1624">3.3675036238115132</cx:pt>
          <cx:pt idx="1625">3.3787435815541857</cx:pt>
          <cx:pt idx="1626">3.3614045647740953</cx:pt>
          <cx:pt idx="1627">3.3503672947939962</cx:pt>
          <cx:pt idx="1628">3.3344470923519149</cx:pt>
          <cx:pt idx="1629">3.3558828587573397</cx:pt>
          <cx:pt idx="1630">3.3557538756357026</cx:pt>
          <cx:pt idx="1631">3.3675281920251581</cx:pt>
          <cx:pt idx="1632">3.3549431245854118</cx:pt>
          <cx:pt idx="1633">3.3595373805370614</cx:pt>
          <cx:pt idx="1634">3.3702736899000074</cx:pt>
          <cx:pt idx="1635">3.3697209050929913</cx:pt>
          <cx:pt idx="1636">3.3821339950372211</cx:pt>
          <cx:pt idx="1637">3.399251897894505</cx:pt>
          <cx:pt idx="1638">3.4050499963147685</cx:pt>
          <cx:pt idx="1639">3.4063521116379629</cx:pt>
          <cx:pt idx="1640">3.4010208092769578</cx:pt>
          <cx:pt idx="1641">3.4210131931307282</cx:pt>
          <cx:pt idx="1642">3.3930054295752154</cx:pt>
          <cx:pt idx="1643">3.3763911750976585</cx:pt>
          <cx:pt idx="1644">3.3963712748446064</cx:pt>
          <cx:pt idx="1645">3.4020833845171121</cx:pt>
          <cx:pt idx="1646">3.4165909146745945</cx:pt>
          <cx:pt idx="1647">3.4285863449868565</cx:pt>
          <cx:pt idx="1648">3.4450470481291307</cx:pt>
          <cx:pt idx="1649">3.4629634179298825</cx:pt>
          <cx:pt idx="1650">3.4766356288234279</cx:pt>
          <cx:pt idx="1651">3.490221850969216</cx:pt>
          <cx:pt idx="1652">3.4889381618062556</cx:pt>
          <cx:pt idx="1653">3.4752168144854192</cx:pt>
          <cx:pt idx="1654">3.4952214824460119</cx:pt>
          <cx:pt idx="1655">3.4894909466132722</cx:pt>
          <cx:pt idx="1656">3.4868375795395918</cx:pt>
          <cx:pt idx="1657">3.4810333390659172</cx:pt>
          <cx:pt idx="1658">3.4966955752647224</cx:pt>
          <cx:pt idx="1659">3.5126157777068023</cx:pt>
          <cx:pt idx="1660">3.4850502419969045</cx:pt>
          <cx:pt idx="1661">3.4862295162518735</cx:pt>
          <cx:pt idx="1662">3.4628098665946005</cx:pt>
          <cx:pt idx="1663">3.4711446330737301</cx:pt>
          <cx:pt idx="1664">3.4901481463282811</cx:pt>
          <cx:pt idx="1665">3.4773603911259614</cx:pt>
          <cx:pt idx="1666">3.4729995332039416</cx:pt>
          <cx:pt idx="1667">3.4750202687762584</cx:pt>
          <cx:pt idx="1668">3.4598064024764765</cx:pt>
          <cx:pt idx="1669">3.4596589931946053</cx:pt>
          <cx:pt idx="1670">3.4526570523057272</cx:pt>
          <cx:pt idx="1671">3.4661695698105799</cx:pt>
          <cx:pt idx="1672">3.4685035501068722</cx:pt>
          <cx:pt idx="1673">3.4692221703559936</cx:pt>
          <cx:pt idx="1674">3.4637434587131168</cx:pt>
          <cx:pt idx="1675">3.4596589931946053</cx:pt>
          <cx:pt idx="1676">3.4434255460285486</cx:pt>
          <cx:pt idx="1677">3.4384504827653988</cx:pt>
          <cx:pt idx="1678">3.4216212564184461</cx:pt>
          <cx:pt idx="1679">3.4161855391494487</cx:pt>
          <cx:pt idx="1680">3.4009041102621431</cx:pt>
          <cx:pt idx="1681">3.4079797557919567</cx:pt>
          <cx:pt idx="1682">3.3956526545954842</cx:pt>
          <cx:pt idx="1683">3.3884664521042676</cx:pt>
          <cx:pt idx="1684">3.3983920104169223</cx:pt>
          <cx:pt idx="1685">3.3892280667272683</cx:pt>
          <cx:pt idx="1686">3.4029801243151612</cx:pt>
          <cx:pt idx="1687">3.3991597670933351</cx:pt>
          <cx:pt idx="1688">3.4021693732648695</cx:pt>
          <cx:pt idx="1689">3.3803343733877114</cx:pt>
          <cx:pt idx="1690">3.3941847038301849</cx:pt>
          <cx:pt idx="1691">3.4065547994005363</cx:pt>
          <cx:pt idx="1692">3.4089870525514097</cx:pt>
          <cx:pt idx="1693">3.4383829201778742</cx:pt>
          <cx:pt idx="1694">3.4214799891899861</cx:pt>
          <cx:pt idx="1695">3.3979067881974303</cx:pt>
          <cx:pt idx="1696">3.4170638527872645</cx:pt>
          <cx:pt idx="1697">3.3943382551654673</cx:pt>
          <cx:pt idx="1698">3.3897439992138172</cx:pt>
          <cx:pt idx="1699">3.4329287767486423</cx:pt>
          <cx:pt idx="1700">3.466390683733386</cx:pt>
          <cx:pt idx="1701">3.4957005626120927</cx:pt>
          <cx:pt idx="1702">3.5101835245559294</cx:pt>
          <cx:pt idx="1703">3.536987445642827</cx:pt>
          <cx:pt idx="1704">3.57982826818662</cx:pt>
          <cx:pt idx="1705">3.6308011694469693</cx:pt>
          <cx:pt idx="1706">3.6677026263420385</cx:pt>
          <cx:pt idx="1707">3.7000405375525145</cx:pt>
          <cx:pt idx="1708">3.7330663587450554</cx:pt>
          <cx:pt idx="1709">3.7699616735867134</cx:pt>
          <cx:pt idx="1710">3.7903840011792744</cx:pt>
          <cx:pt idx="1711">3.830626735130088</cx:pt>
          <cx:pt idx="1712">3.8539603960396032</cx:pt>
          <cx:pt idx="1713">3.8969240596516226</cx:pt>
          <cx:pt idx="1714">3.9147053042773252</cx:pt>
          <cx:pt idx="1715">3.944021325209444</cx:pt>
          <cx:pt idx="1716">3.9578532294916831</cx:pt>
          <cx:pt idx="1717">3.9767339016780086</cx:pt>
          <cx:pt idx="1718">4.0249551630100973</cx:pt>
          <cx:pt idx="1719">4.072377957398718</cx:pt>
          <cx:pt idx="1720">4.1219443284278796</cx:pt>
          <cx:pt idx="1721">4.1302053902660729</cx:pt>
          <cx:pt idx="1722">4.1747844139252637</cx:pt>
          <cx:pt idx="1723">4.1985787288406256</cx:pt>
          <cx:pt idx="1724">4.2003660663833129</cx:pt>
          <cx:pt idx="1725">4.2404982433727243</cx:pt>
          <cx:pt idx="1726">4.2790212023683765</cx:pt>
          <cx:pt idx="1727">4.3015195440139555</cx:pt>
          <cx:pt idx="1728">4.3539419698793713</cx:pt>
          <cx:pt idx="1729">4.3759059528781661</cx:pt>
          <cx:pt idx="1730">4.3577561850477853</cx:pt>
          <cx:pt idx="1731">4.3536778615826845</cx:pt>
          <cx:pt idx="1732">4.3517124044910691</cx:pt>
          <cx:pt idx="1733">4.3522037687639727</cx:pt>
          <cx:pt idx="1734">4.3549554086922333</cx:pt>
          <cx:pt idx="1735">4.3584686632434932</cx:pt>
          <cx:pt idx="1736">4.3553116477900895</cx:pt>
          <cx:pt idx="1737">4.3572463946146467</cx:pt>
          <cx:pt idx="1738">4.3483097069012109</cx:pt>
          <cx:pt idx="1739">4.3535181681939896</cx:pt>
          <cx:pt idx="1740">4.3555941822470077</cx:pt>
          <cx:pt idx="1741">4.3602621428395931</cx:pt>
          <cx:pt idx="1742">4.3645370120138569</cx:pt>
          <cx:pt idx="1743">4.3296562906911022</cx:pt>
          <cx:pt idx="1744">4.2767425005527837</cx:pt>
          <cx:pt idx="1745">4.2532061518806952</cx:pt>
          <cx:pt idx="1746">4.2114954671645819</cx:pt>
          <cx:pt idx="1747">4.1873879075252427</cx:pt>
          <cx:pt idx="1748">4.1676842001818049</cx:pt>
          <cx:pt idx="1749">4.1456158022750165</cx:pt>
          <cx:pt idx="1750">4.1067795985553888</cx:pt>
          <cx:pt idx="1751">4.0777215438665442</cx:pt>
          <cx:pt idx="1752">4.0417966734638719</cx:pt>
          <cx:pt idx="1753">3.9988452939586758</cx:pt>
          <cx:pt idx="1754">3.9583445937645871</cx:pt>
          <cx:pt idx="1755">3.9385856079404458</cx:pt>
          <cx:pt idx="1756">3.8968135026902191</cx:pt>
          <cx:pt idx="1757">3.8775458811389822</cx:pt>
          <cx:pt idx="1758">3.8413016239589219</cx:pt>
          <cx:pt idx="1759">3.806248925140653</cx:pt>
          <cx:pt idx="1760">3.7823194850502415</cx:pt>
          <cx:pt idx="1761">3.7533658452693901</cx:pt>
          <cx:pt idx="1762">3.7246087511977004</cx:pt>
          <cx:pt idx="1763">3.692430533375918</cx:pt>
          <cx:pt idx="1764">3.6606699751861043</cx:pt>
          <cx:pt idx="1765">3.6494177333366089</cx:pt>
          <cx:pt idx="1766">3.6105139670294579</cx:pt>
          <cx:pt idx="1767">3.5891089108910896</cx:pt>
          <cx:pt idx="1768">3.5494926663882276</cx:pt>
          <cx:pt idx="1769">3.5237328943812503</cx:pt>
          <cx:pt idx="1770">3.4881028425423199</cx:pt>
          <cx:pt idx="1771">3.4523560916885745</cx:pt>
          <cx:pt idx="1772">3.406499520919835</cx:pt>
          <cx:pt idx="1773">3.3694875070633623</cx:pt>
          <cx:pt idx="1774">3.3798184409011633</cx:pt>
          <cx:pt idx="1775">3.387870672923373</cx:pt>
          <cx:pt idx="1776">3.4054123774660354</cx:pt>
          <cx:pt idx="1777">3.4147114463307391</cx:pt>
          <cx:pt idx="1778">3.4365771564749541</cx:pt>
          <cx:pt idx="1779">3.4342431761786618</cx:pt>
          <cx:pt idx="1780">3.4162592437903858</cx:pt>
          <cx:pt idx="1781">3.4145026165147545</cx:pt>
          <cx:pt idx="1782">3.403717170724518</cx:pt>
          <cx:pt idx="1783">3.4243851804535304</cx:pt>
          <cx:pt idx="1784">3.4082622902488771</cx:pt>
          <cx:pt idx="1785">3.4202147261872597</cx:pt>
          <cx:pt idx="1786">3.4381863744687129</cx:pt>
          <cx:pt idx="1787">3.4567292337174167</cx:pt>
          <cx:pt idx="1788">3.4499545488047567</cx:pt>
          <cx:pt idx="1789">3.4751431098444834</cx:pt>
          <cx:pt idx="1790">3.4533511043412033</cx:pt>
          <cx:pt idx="1791">3.4341387612706678</cx:pt>
          <cx:pt idx="1792">3.4593580325774509</cx:pt>
          <cx:pt idx="1793">3.4455629806156791</cx:pt>
          <cx:pt idx="1794">3.4434562562956046</cx:pt>
          <cx:pt idx="1795">3.4444205586811782</cx:pt>
          <cx:pt idx="1796">3.4422278456133455</cx:pt>
          <cx:pt idx="1797">3.4470309313809793</cx:pt>
          <cx:pt idx="1798">3.4368351227182274</cx:pt>
          <cx:pt idx="1799">3.4431552956784515</cx:pt>
          <cx:pt idx="1800">3.4416689187529181</cx:pt>
          <cx:pt idx="1801">3.442276982040636</cx:pt>
          <cx:pt idx="1802">3.4380205390266076</cx:pt>
          <cx:pt idx="1803">3.4506178905731764</cx:pt>
          <cx:pt idx="1804">3.4391322506940529</cx:pt>
          <cx:pt idx="1805">3.4289425840847114</cx:pt>
          <cx:pt idx="1806">3.4425226641770879</cx:pt>
          <cx:pt idx="1807">3.4230646389701005</cx:pt>
          <cx:pt idx="1808">3.427904577058202</cx:pt>
          <cx:pt idx="1809">3.4120089428297664</cx:pt>
          <cx:pt idx="1810">3.4115052944500404</cx:pt>
          <cx:pt idx="1811">3.4031766700243224</cx:pt>
          <cx:pt idx="1812">3.3915129105962709</cx:pt>
          <cx:pt idx="1813">3.3974522762449939</cx:pt>
          <cx:pt idx="1814">3.4037171707245171</cx:pt>
          <cx:pt idx="1815">3.4364420312999044</cx:pt>
          <cx:pt idx="1816">3.4430017443431691</cx:pt>
          <cx:pt idx="1817">3.4164066530722552</cx:pt>
          <cx:pt idx="1818">3.3995405744048357</cx:pt>
          <cx:pt idx="1819">3.4095705476254827</cx:pt>
          <cx:pt idx="1820">3.3702859740068303</cx:pt>
          <cx:pt idx="1821">3.4071382944746089</cx:pt>
          <cx:pt idx="1822">3.4302078470874391</cx:pt>
          <cx:pt idx="1823">3.4100434857381519</cx:pt>
          <cx:pt idx="1824">3.4201164533326782</cx:pt>
          <cx:pt idx="1825">3.4163329484313194</cx:pt>
          <cx:pt idx="1826">3.4118123971206051</cx:pt>
          <cx:pt idx="1827">3.3885647249588486</cx:pt>
          <cx:pt idx="1828">3.3794683438567183</cx:pt>
          <cx:pt idx="1829">3.3716310837039045</cx:pt>
          <cx:pt idx="1830">3.3720364592290499</cx:pt>
          <cx:pt idx="1831">3.383718644817336</cx:pt>
          <cx:pt idx="1832">3.3860649092204516</cx:pt>
          <cx:pt idx="1833">3.3880303663120661</cx:pt>
          <cx:pt idx="1834">3.3869247966980329</cx:pt>
          <cx:pt idx="1835">3.4051851214898172</cx:pt>
          <cx:pt idx="1836">3.4003758936687718</cx:pt>
          <cx:pt idx="1837">3.3978515097167294</cx:pt>
          <cx:pt idx="1838">3.40391985848709</cx:pt>
          <cx:pt idx="1839">3.3988772326364161</cx:pt>
          <cx:pt idx="1840">3.3782399331744593</cx:pt>
          <cx:pt idx="1841">3.3768395449966833</cx:pt>
          <cx:pt idx="1842">3.3934046630469505</cx:pt>
          <cx:pt idx="1843">3.4096381102130069</cx:pt>
          <cx:pt idx="1844">3.4249133970469012</cx:pt>
          <cx:pt idx="1845">3.395947473159227</cx:pt>
          <cx:pt idx="1846">3.3822015576247439</cx:pt>
          <cx:pt idx="1847">3.3873977348107021</cx:pt>
          <cx:pt idx="1848">3.3960825983342748</cx:pt>
          <cx:pt idx="1849">3.4202331523474925</cx:pt>
          <cx:pt idx="1850">3.4279905658059602</cx:pt>
          <cx:pt idx="1851">3.4682701520772432</cx:pt>
          <cx:pt idx="1852">3.4671277301427419</cx:pt>
          <cx:pt idx="1853">3.4416996290199751</cx:pt>
          <cx:pt idx="1854">3.4560167555217065</cx:pt>
          <cx:pt idx="1855">3.4614770410043487</cx:pt>
          <cx:pt idx="1856">3.4591062083875892</cx:pt>
          <cx:pt idx="1857">3.4887354740436827</cx:pt>
          <cx:pt idx="1858">3.473546175957547</cx:pt>
          <cx:pt idx="1859">3.4803392870304406</cx:pt>
          <cx:pt idx="1860">3.4956698523450362</cx:pt>
          <cx:pt idx="1861">3.4706102744269467</cx:pt>
          <cx:pt idx="1862">3.4555499594624477</cx:pt>
          <cx:pt idx="1863">3.460070510773162</cx:pt>
          <cx:pt idx="1864">3.4567967963049409</cx:pt>
          <cx:pt idx="1865">3.4553779819669312</cx:pt>
          <cx:pt idx="1866">3.4630002702503502</cx:pt>
          <cx:pt idx="1867">3.4657887624990789</cx:pt>
          <cx:pt idx="1868">3.4726064417856177</cx:pt>
          <cx:pt idx="1869">3.4891777018892958</cx:pt>
          <cx:pt idx="1870">3.4957189887723268</cx:pt>
          <cx:pt idx="1871">3.5253666805886548</cx:pt>
          <cx:pt idx="1872">3.5104906272264942</cx:pt>
          <cx:pt idx="1873">3.486432204014446</cx:pt>
          <cx:pt idx="1874">3.4852897820799447</cx:pt>
          <cx:pt idx="1875">3.4573557231653682</cx:pt>
          <cx:pt idx="1876">3.4768874530132909</cx:pt>
          <cx:pt idx="1877">3.4768014642655327</cx:pt>
          <cx:pt idx="1878">3.4685465444807497</cx:pt>
          <cx:pt idx="1879">3.4774402378203066</cx:pt>
          <cx:pt idx="1880">3.4633626514016154</cx:pt>
          <cx:pt idx="1881">3.4619069847431381</cx:pt>
          <cx:pt idx="1882">3.4441318821708462</cx:pt>
          <cx:pt idx="1883">3.4515391985848698</cx:pt>
          <cx:pt idx="1884">3.4539591676289203</cx:pt>
          <cx:pt idx="1885">3.463884725941575</cx:pt>
          <cx:pt idx="1886">3.4742893644203119</cx:pt>
          <cx:pt idx="1887">3.5187086946908077</cx:pt>
          <cx:pt idx="1888">3.519820406358253</cx:pt>
          <cx:pt idx="1889">3.5713890867994982</cx:pt>
          <cx:pt idx="1890">3.611281723705869</cx:pt>
          <cx:pt idx="1891">3.6260226518929803</cx:pt>
          <cx:pt idx="1892">3.6849863646414271</cx:pt>
          <cx:pt idx="1893">3.71858953885463</cx:pt>
          <cx:pt idx="1894">3.749545488047564</cx:pt>
          <cx:pt idx="1895">3.7886642262241117</cx:pt>
          <cx:pt idx="1896">3.8256762400805844</cx:pt>
          <cx:pt idx="1897">3.8354666732181908</cx:pt>
          <cx:pt idx="1898">3.8806230498980425</cx:pt>
          <cx:pt idx="1899">3.9029924084219836</cx:pt>
          <cx:pt idx="1900">3.9177824730363864</cx:pt>
          <cx:pt idx="1901">3.951490062157581</cx:pt>
          <cx:pt idx="1902">3.9673181337984924</cx:pt>
          <cx:pt idx="1903">4.0274918310689634</cx:pt>
          <cx:pt idx="1904">4.0736800727219125</cx:pt>
          <cx:pt idx="1905">4.102639854556176</cx:pt>
          <cx:pt idx="1906">4.1397132889467612</cx:pt>
          <cx:pt idx="1907">4.1636672972508171</cx:pt>
          <cx:pt idx="1908">4.1991192295408197</cx:pt>
          <cx:pt idx="1909">4.221635997346632</cx:pt>
          <cx:pt idx="1910">4.238993440286956</cx:pt>
          <cx:pt idx="1911">4.2648330589882804</cx:pt>
          <cx:pt idx="1912">4.268647274156697</cx:pt>
          <cx:pt idx="1913">4.2997629167383247</cx:pt>
          <cx:pt idx="1914">4.3184838955359552</cx:pt>
          <cx:pt idx="1915">4.3642176252364688</cx:pt>
          <cx:pt idx="1916">4.3766245731272875</cx:pt>
          <cx:pt idx="1917">4.3862000343954985</cx:pt>
          <cx:pt idx="1918">4.3966108149276462</cx:pt>
          <cx:pt idx="1919">4.4153563619389242</cx:pt>
          <cx:pt idx="1920">4.417094563054321</cx:pt>
          <cx:pt idx="1921">4.4005294450040546</cx:pt>
          <cx:pt idx="1922">4.3998169668083449</cx:pt>
          <cx:pt idx="1923">4.3886138613861405</cx:pt>
          <cx:pt idx="1924">4.399552858511659</cx:pt>
          <cx:pt idx="1925">4.4055966390683734</cx:pt>
          <cx:pt idx="1926">4.4136795813576395</cx:pt>
          <cx:pt idx="1927">4.4186914969412578</cx:pt>
          <cx:pt idx="1928">4.4167260398496424</cx:pt>
          <cx:pt idx="1929">4.4122054885389277</cx:pt>
          <cx:pt idx="1930">4.410743679827041</cx:pt>
          <cx:pt idx="1931">4.3995282902980133</cx:pt>
          <cx:pt idx="1932">4.3615458320025553</cx:pt>
          <cx:pt idx="1933">4.3413016239589215</cx:pt>
          <cx:pt idx="1934">4.2924170208584131</cx:pt>
          <cx:pt idx="1935">4.254274869174262</cx:pt>
          <cx:pt idx="1936">4.237924722993391</cx:pt>
          <cx:pt idx="1937">4.2102731985357336</cx:pt>
          <cx:pt idx="1938">4.1698093506621126</cx:pt>
          <cx:pt idx="1939">4.1327359162715265</cx:pt>
          <cx:pt idx="1940">4.1120617644891038</cx:pt>
          <cx:pt idx="1941">4.072040144461095</cx:pt>
          <cx:pt idx="1942">4.0368830307348347</cx:pt>
          <cx:pt idx="1943">4.02151561309977</cx:pt>
          <cx:pt idx="1944">3.9767830381052978</cx:pt>
          <cx:pt idx="1945">3.9433702675478455</cx:pt>
          <cx:pt idx="1946">3.9211667444660088</cx:pt>
          <cx:pt idx="1947">3.8759857995725127</cx:pt>
          <cx:pt idx="1948">3.8409515269144778</cx:pt>
          <cx:pt idx="1949">3.7890204653219657</cx:pt>
          <cx:pt idx="1950">3.7455777215438664</cx:pt>
          <cx:pt idx="1951">3.7092413335626357</cx:pt>
          <cx:pt idx="1952">3.6992420706090461</cx:pt>
          <cx:pt idx="1953">3.6754907500675627</cx:pt>
          <cx:pt idx="1954">3.6472434464290098</cx:pt>
          <cx:pt idx="1955">3.6261577770680291</cx:pt>
          <cx:pt idx="1956">3.5823526521386637</cx:pt>
          <cx:pt idx="1957">3.5433874652973985</cx:pt>
          <cx:pt idx="1958">3.493968503550108</cx:pt>
          <cx:pt idx="1959">3.4653833869739339</cx:pt>
          <cx:pt idx="1960">3.4099820652040398</cx:pt>
          <cx:pt idx="1961">3.3659435422450441</cx:pt>
          <cx:pt idx="1962">3.3426528757094078</cx:pt>
          <cx:pt idx="1963">3.3272486057538759</cx:pt>
          <cx:pt idx="1964">3.3421123750092132</cx:pt>
          <cx:pt idx="1965">3.3575534972852128</cx:pt>
          <cx:pt idx="1966">3.3691619782325635</cx:pt>
          <cx:pt idx="1967">3.3564909220450581</cx:pt>
          <cx:pt idx="1968">3.3610544677296512</cx:pt>
          <cx:pt idx="1969">3.3656180134142453</cx:pt>
          <cx:pt idx="1970">3.3851865955826352</cx:pt>
          <cx:pt idx="1971">3.3661462300076161</cx:pt>
          <cx:pt idx="1972">3.382963172247746</cx:pt>
          <cx:pt idx="1973">3.3948480455986045</cx:pt>
          <cx:pt idx="1974">3.3896150160921801</cx:pt>
          <cx:pt idx="1975">3.4082192958749973</cx:pt>
          <cx:pt idx="1976">3.3985271355919711</cx:pt>
          <cx:pt idx="1977">3.3687873129744736</cx:pt>
          <cx:pt idx="1978">3.3660233889393907</cx:pt>
          <cx:pt idx="1979">3.3623504409994354</cx:pt>
          <cx:pt idx="1980">3.3568103088224461</cx:pt>
          <cx:pt idx="1981">3.3698376041078055</cx:pt>
          <cx:pt idx="1982">3.3653661892243822</cx:pt>
          <cx:pt idx="1983">3.3565277743655266</cx:pt>
          <cx:pt idx="1984">3.360139301771369</cx:pt>
          <cx:pt idx="1985">3.3651942117288653</cx:pt>
          <cx:pt idx="1986">3.3556310345674771</cx:pt>
          <cx:pt idx="1987">3.3716495098641381</cx:pt>
          <cx:pt idx="1988">3.3716495098641386</cx:pt>
          <cx:pt idx="1989">3.3808257376606154</cx:pt>
          <cx:pt idx="1990">3.3837616391912153</cx:pt>
          <cx:pt idx="1991">3.4007567009802724</cx:pt>
          <cx:pt idx="1992">3.4336781072648219</cx:pt>
          <cx:pt idx="1993">3.4360489398815823</cx:pt>
          <cx:pt idx="1994">3.4427560622067177</cx:pt>
          <cx:pt idx="1995">3.4235621452964162</cx:pt>
          <cx:pt idx="1996">3.4380573913470758</cx:pt>
          <cx:pt idx="1997">3.4313625531287628</cx:pt>
          <cx:pt idx="1998">3.4291268456870507</cx:pt>
          <cx:pt idx="1999">3.4176719160749824</cx:pt>
          <cx:pt idx="2000">3.4226592634449551</cx:pt>
          <cx:pt idx="2001">3.4166277669950613</cx:pt>
          <cx:pt idx="2002">3.4429157555954104</cx:pt>
          <cx:pt idx="2003">3.4408520256492148</cx:pt>
          <cx:pt idx="2004">3.4339606417217401</cx:pt>
          <cx:pt idx="2005">3.4413311058152956</cx:pt>
          <cx:pt idx="2006">3.4217993759673724</cx:pt>
          <cx:pt idx="2007">3.415251947030931</cx:pt>
          <cx:pt idx="2008">3.4207245166203961</cx:pt>
          <cx:pt idx="2009">3.4227329680858909</cx:pt>
          <cx:pt idx="2010">3.425091516595828</cx:pt>
          <cx:pt idx="2011">3.430140284499914</cx:pt>
          <cx:pt idx="2012">3.421572119991156</cx:pt>
          <cx:pt idx="2013">3.4144043436601725</cx:pt>
          <cx:pt idx="2014">3.4095029850379581</cx:pt>
          <cx:pt idx="2015">3.3968380709038657</cx:pt>
          <cx:pt idx="2016">3.4128074097732362</cx:pt>
          <cx:pt idx="2017">3.3994300174434327</cx:pt>
          <cx:pt idx="2018">3.3877846841756147</cx:pt>
          <cx:pt idx="2019">3.3862368867159676</cx:pt>
          <cx:pt idx="2020">3.3802913790138325</cx:pt>
          <cx:pt idx="2021">3.3831412917966746</cx:pt>
          <cx:pt idx="2022">3.3832211384910207</cx:pt>
          <cx:pt idx="2023">3.3767535562489259</cx:pt>
          <cx:pt idx="2024">3.3949708866668304</cx:pt>
          <cx:pt idx="2025">3.4225364223767283</cx:pt>
          <cx:pt idx="2026">3.4041409724098952</cx:pt>
          <cx:pt idx="2027">3.3955420976340807</cx:pt>
          <cx:pt idx="2028">3.3849654816598282</cx:pt>
          <cx:pt idx="2029">3.3732218755374288</cx:pt>
          <cx:pt idx="2030">3.3859297840454015</cx:pt>
          <cx:pt idx="2031">3.3784426209370317</cx:pt>
          <cx:pt idx="2032">3.3666130260668745</cx:pt>
          <cx:pt idx="2033">3.3498943566813257</cx:pt>
          <cx:pt idx="2034">3.3439857012996579</cx:pt>
          <cx:pt idx="2035">3.3508893693339563</cx:pt>
          <cx:pt idx="2036">3.3404601626415751</cx:pt>
          <cx:pt idx="2037">3.3700894282976694</cx:pt>
          <cx:pt idx="2038">3.3782460752278705</cx:pt>
          <cx:pt idx="2039">3.3961194506547425</cx:pt>
          <cx:pt idx="2040">3.4211360341989536</cx:pt>
          <cx:pt idx="2041">3.4328796403213522</cx:pt>
          <cx:pt idx="2042">3.4377134363560429</cx:pt>
          <cx:pt idx="2043">3.4225118541630843</cx:pt>
          <cx:pt idx="2044">3.4269464167260399</cx:pt>
          <cx:pt idx="2045">3.4274992015330557</cx:pt>
          <cx:pt idx="2046">3.4220757683708807</cx:pt>
          <cx:pt idx="2047">3.3914822003292131</cx:pt>
          <cx:pt idx="2048">3.4075682382133987</cx:pt>
          <cx:pt idx="2049">3.4153072255116323</cx:pt>
          <cx:pt idx="2050">3.4067206348426398</cx:pt>
          <cx:pt idx="2051">3.4209947669704937</cx:pt>
          <cx:pt idx="2052">3.4102461735007243</cx:pt>
          <cx:pt idx="2053">3.3996818416332948</cx:pt>
          <cx:pt idx="2054">3.3692971034076113</cx:pt>
          <cx:pt idx="2055">3.3472102793405889</cx:pt>
          <cx:pt idx="2056">3.3184838955359557</cx:pt>
          <cx:pt idx="2057">3.3161990516669535</cx:pt>
          <cx:pt idx="2058">3.3027848070166819</cx:pt>
          <cx:pt idx="2059">3.3290298012431521</cx:pt>
          <cx:pt idx="2060">3.3442129572758765</cx:pt>
          <cx:pt idx="2061">3.3418789769795842</cx:pt>
          <cx:pt idx="2062">3.3367933567550305</cx:pt>
          <cx:pt idx="2063">3.3409576689678899</cx:pt>
          <cx:pt idx="2064">3.3483281330614458</cx:pt>
          <cx:pt idx="2065">3.3486229516251873</cx:pt>
          <cx:pt idx="2066">3.344870156990885</cx:pt>
          <cx:pt idx="2067">3.3531619290961352</cx:pt>
          <cx:pt idx="2068">3.3342198363756967</cx:pt>
          <cx:pt idx="2069">3.3356447927671176</cx:pt>
          <cx:pt idx="2070">3.3297852738127411</cx:pt>
          <cx:pt idx="2071">3.3134965481659826</cx:pt>
          <cx:pt idx="2072">3.3041114905535216</cx:pt>
          <cx:pt idx="2073">3.3143380094833303</cx:pt>
          <cx:pt idx="2074">3.3271196226322388</cx:pt>
          <cx:pt idx="2075">3.334858609930472</cx:pt>
          <cx:pt idx="2076">3.3370328968380716</cx:pt>
          <cx:pt idx="2077">3.3380647618111694</cx:pt>
          <cx:pt idx="2078">3.3394221556150661</cx:pt>
          <cx:pt idx="2079">3.3344716605655611</cx:pt>
          <cx:pt idx="2080">3.3278382428813602</cx:pt>
          <cx:pt idx="2081">3.3491327420583259</cx:pt>
          <cx:pt idx="2082">3.3539235437191373</cx:pt>
          <cx:pt idx="2083">3.3681731076333445</cx:pt>
          <cx:pt idx="2084">3.4007996953541517</cx:pt>
          <cx:pt idx="2085">3.4167076136894097</cx:pt>
          <cx:pt idx="2086">3.436018229614525</cx:pt>
          <cx:pt idx="2087">3.4644375107485943</cx:pt>
          <cx:pt idx="2088">3.4665565191754917</cx:pt>
          <cx:pt idx="2089">3.4689887723263655</cx:pt>
          <cx:pt idx="2090">3.4546409355575762</cx:pt>
          <cx:pt idx="2091">3.4562870058718036</cx:pt>
          <cx:pt idx="2092">3.4543891113677128</cx:pt>
          <cx:pt idx="2093">3.4878141660319879</cx:pt>
          <cx:pt idx="2094">3.4784291084195273</cx:pt>
          <cx:pt idx="2095">3.4658624671400147</cx:pt>
          <cx:pt idx="2096">3.4631353954253985</cx:pt>
          <cx:pt idx="2097">3.4503537822764909</cx:pt>
          <cx:pt idx="2098">3.4515699088519276</cx:pt>
          <cx:pt idx="2099">3.4369026853057516</cx:pt>
          <cx:pt idx="2100">3.4236112817237059</cx:pt>
          <cx:pt idx="2101">3.4182124167751762</cx:pt>
          <cx:pt idx="2102">3.4026853057514188</cx:pt>
          <cx:pt idx="2103">3.4240596516227306</cx:pt>
          <cx:pt idx="2104">3.4236911284180533</cx:pt>
          <cx:pt idx="2105">3.4381802324153021</cx:pt>
          <cx:pt idx="2106">3.4437633589661698</cx:pt>
          <cx:pt idx="2107">3.4270201213669758</cx:pt>
          <cx:pt idx="2108">3.4349925066948384</cx:pt>
          <cx:pt idx="2109">3.4415153674176358</cx:pt>
          <cx:pt idx="2110">3.4481794953688922</cx:pt>
          <cx:pt idx="2111">3.4523315234749283</cx:pt>
          <cx:pt idx="2112">3.4362147753236862</cx:pt>
          <cx:pt idx="2113">3.4212588752671795</cx:pt>
          <cx:pt idx="2114">3.4069478908188584</cx:pt>
          <cx:pt idx="2115">3.3999275237697466</cx:pt>
          <cx:pt idx="2116">3.4014016165884575</cx:pt>
          <cx:pt idx="2117">3.3929071567206344</cx:pt>
          <cx:pt idx="2118">3.3937056236641028</cx:pt>
          <cx:pt idx="2119">3.4180711495467158</cx:pt>
          <cx:pt idx="2120">3.4110692086578376</cx:pt>
          <cx:pt idx="2121">3.4139928260816146</cx:pt>
          <cx:pt idx="2122">3.4049148711397188</cx:pt>
          <cx:pt idx="2123">3.4179851607989575</cx:pt>
          <cx:pt idx="2124">3.3999766601970367</cx:pt>
          <cx:pt idx="2125">3.4116465616784999</cx:pt>
          <cx:pt idx="2126">3.4104672874235313</cx:pt>
          <cx:pt idx="2127">3.4213632901751714</cx:pt>
          <cx:pt idx="2128">3.4343844434071205</cx:pt>
          <cx:pt idx="2129">3.4481119327813681</cx:pt>
          <cx:pt idx="2130">3.471642139400045</cx:pt>
          <cx:pt idx="2131">3.4956698523450367</cx:pt>
          <cx:pt idx="2132">3.5010687172935655</cx:pt>
          <cx:pt idx="2133">3.5341375328599862</cx:pt>
          <cx:pt idx="2134">3.5127631869886744</cx:pt>
          <cx:pt idx="2135">3.4906702208682407</cx:pt>
          <cx:pt idx="2136">3.4736997272928285</cx:pt>
          <cx:pt idx="2137">3.4663538314129179</cx:pt>
          <cx:pt idx="2138">3.4890302926074246</cx:pt>
          <cx:pt idx="2139">3.4915731027197014</cx:pt>
          <cx:pt idx="2140">3.4984583445937649</cx:pt>
          <cx:pt idx="2141">3.4898594698179495</cx:pt>
          <cx:pt idx="2142">3.4779684544136802</cx:pt>
          <cx:pt idx="2143">3.497137803110336</cx:pt>
          <cx:pt idx="2144">3.5002518241898635</cx:pt>
          <cx:pt idx="2145">3.4972790703387964</cx:pt>
          <cx:pt idx="2146">3.4876176203228271</cx:pt>
          <cx:pt idx="2147">3.4972606441785627</cx:pt>
          <cx:pt idx="2148">3.5140591602584581</cx:pt>
          <cx:pt idx="2149">3.4971685133773929</cx:pt>
          <cx:pt idx="2150">3.4741542392452649</cx:pt>
          <cx:pt idx="2151">3.481764243421861</cx:pt>
          <cx:pt idx="2152">3.4758310198265483</cx:pt>
          <cx:pt idx="2153">3.4751553939513058</cx:pt>
          <cx:pt idx="2154">3.4830110802643537</cx:pt>
          <cx:pt idx="2155">3.4942019015797352</cx:pt>
          <cx:pt idx="2156">3.4914011252241846</cx:pt>
          <cx:pt idx="2157">3.4988882883325552</cx:pt>
          <cx:pt idx="2158">3.4771208510429208</cx:pt>
          <cx:pt idx="2159">3.4627852983809544</cx:pt>
          <cx:pt idx="2160">3.4514163575166452</cx:pt>
          <cx:pt idx="2161">3.4514163575166457</cx:pt>
          <cx:pt idx="2162">3.4509004250300968</cx:pt>
          <cx:pt idx="2163">3.4639829987961583</cx:pt>
          <cx:pt idx="2164">3.4430385966636377</cx:pt>
          <cx:pt idx="2165">3.4610962336928499</cx:pt>
          <cx:pt idx="2166">3.4896260717883214</cx:pt>
          <cx:pt idx="2167">3.4781527160160191</cx:pt>
          <cx:pt idx="2168">3.4689150676854288</cx:pt>
          <cx:pt idx="2169">3.4465579932683097</cx:pt>
          <cx:pt idx="2170">3.4406984743139324</cx:pt>
          <cx:pt idx="2171">3.4446416726039844</cx:pt>
          <cx:pt idx="2172">3.4275974743876367</cx:pt>
          <cx:pt idx="2173">3.4259084096995305</cx:pt>
          <cx:pt idx="2174">3.4082315799818192</cx:pt>
          <cx:pt idx="2175">3.4006338599120456</cx:pt>
          <cx:pt idx="2176">3.4130530919096866</cx:pt>
          <cx:pt idx="2177">3.4284082254379276</cx:pt>
          <cx:pt idx="2178">3.4152150947104629</cx:pt>
          <cx:pt idx="2179">3.388116355059823</cx:pt>
          <cx:pt idx="2180">3.3669631231113177</cx:pt>
          <cx:pt idx="2181">3.3642790457705818</cx:pt>
          <cx:pt idx="2182">3.3613861386138608</cx:pt>
          <cx:pt idx="2183">3.3546237378080237</cx:pt>
          <cx:pt idx="2184">3.3773001990025309</cx:pt>
          <cx:pt idx="2185">3.3649239613787678</cx:pt>
          <cx:pt idx="2186">3.3590767265312143</cx:pt>
          <cx:pt idx="2187">3.3485615310910752</cx:pt>
          <cx:pt idx="2188">3.3520747856423365</cx:pt>
          <cx:pt idx="2189">3.3752426111097469</cx:pt>
          <cx:pt idx="2190">3.3846952313097325</cx:pt>
          <cx:pt idx="2191">3.3793700710021386</cx:pt>
          <cx:pt idx="2192">3.3729024887600429</cx:pt>
          <cx:pt idx="2193">3.3648686828980674</cx:pt>
          <cx:pt idx="2194">3.3438628602314338</cx:pt>
          <cx:pt idx="2195">3.3380279094907013</cx:pt>
          <cx:pt idx="2196">3.3371004594255953</cx:pt>
          <cx:pt idx="2197">3.3438567181780212</cx:pt>
          <cx:pt idx="2198">3.3558091541164039</cx:pt>
          <cx:pt idx="2199">3.3494337026754786</cx:pt>
          <cx:pt idx="2200">3.3687381765471831</cx:pt>
          <cx:pt idx="2201">3.3866484042945233</cx:pt>
          <cx:pt idx="2202">3.3942584084711198</cx:pt>
          <cx:pt idx="2203">3.4044787853475169</cx:pt>
          <cx:pt idx="2204">3.4106638331326922</cx:pt>
          <cx:pt idx="2205">3.4080718865931252</cx:pt>
          <cx:pt idx="2206">3.4401763997739723</cx:pt>
          <cx:pt idx="2207">3.4424980959634421</cx:pt>
          <cx:pt idx="2208">3.4277203154558631</cx:pt>
          <cx:pt idx="2209">3.4258039947915391</cx:pt>
          <cx:pt idx="2210">3.4344274377809993</cx:pt>
          <cx:pt idx="2211">3.4607522787018161</cx:pt>
          <cx:pt idx="2212">3.4632705206004473</cx:pt>
          <cx:pt idx="2213">3.4551015895634234</cx:pt>
          <cx:pt idx="2214">3.4613050635088332</cx:pt>
          <cx:pt idx="2215">3.4351890524040005</cx:pt>
          <cx:pt idx="2216">3.4389111367712455</cx:pt>
          <cx:pt idx="2217">3.451096970739258</cx:pt>
          <cx:pt idx="2218">3.4762793897255735</cx:pt>
          <cx:pt idx="2219">3.4898963221384176</cx:pt>
          <cx:pt idx="2220">3.4883239564651256</cx:pt>
          <cx:pt idx="2221">3.5061789057317641</cx:pt>
          <cx:pt idx="2222">3.5046126821118837</cx:pt>
          <cx:pt idx="2223">3.5472508168931038</cx:pt>
          <cx:pt idx="2224">3.5871311696926518</cx:pt>
          <cx:pt idx="2225">3.6523106404933294</cx:pt>
          <cx:pt idx="2226">3.709407169004741</cx:pt>
          <cx:pt idx="2227">3.7485873277154012</cx:pt>
          <cx:pt idx="2228">3.7778419281134066</cx:pt>
          <cx:pt idx="2229">3.8374198462029825</cx:pt>
          <cx:pt idx="2230">3.897237304375599</cx:pt>
          <cx:pt idx="2231">3.9299805911112204</cx:pt>
          <cx:pt idx="2232">3.9687860845637917</cx:pt>
          <cx:pt idx="2233">3.9933788664226224</cx:pt>
          <cx:pt idx="2234">4.0330872417266548</cx:pt>
          <cx:pt idx="2235">4.0816340318895419</cx:pt>
          <cx:pt idx="2236">4.1313600963073975</cx:pt>
          <cx:pt idx="2237">4.1717870918605513</cx:pt>
          <cx:pt idx="2238">4.2211262069134952</cx:pt>
          <cx:pt idx="2239">4.2667493796526053</cx:pt>
          <cx:pt idx="2240">4.309092695870083</cx:pt>
          <cx:pt idx="2241">4.3477139277203154</cx:pt>
          <cx:pt idx="2242">4.376372748937424</cx:pt>
          <cx:pt idx="2243">4.4155221973810272</cx:pt>
          <cx:pt idx="2244">4.4641242660246165</cx:pt>
          <cx:pt idx="2245">4.5198388325184862</cx:pt>
          <cx:pt idx="2246">4.5620961599882071</cx:pt>
          <cx:pt idx="2247">4.6132226125838383</cx:pt>
          <cx:pt idx="2248">4.6295236223374188</cx:pt>
          <cx:pt idx="2249">4.6484902832715029</cx:pt>
          <cx:pt idx="2250">4.6584035574773353</cx:pt>
          <cx:pt idx="2251">4.6872220720831388</cx:pt>
          <cx:pt idx="2252">4.6983883251848759</cx:pt>
          <cx:pt idx="2253">1.656769771269931</cx:pt>
          <cx:pt idx="2254">1.7900523302950642</cx:pt>
          <cx:pt idx="2255">1.8991536250399232</cx:pt>
          <cx:pt idx="2256">2.0166818170650811</cx:pt>
          <cx:pt idx="2257">2.1331167235830284</cx:pt>
          <cx:pt idx="2258">2.2473589170331425</cx:pt>
          <cx:pt idx="2259">2.3635174311475815</cx:pt>
          <cx:pt idx="2260">2.4740743925509179</cx:pt>
          <cx:pt idx="2261">2.5723963835589516</cx:pt>
          <cx:pt idx="2262">2.6831498906714493</cx:pt>
          <cx:pt idx="2263">2.7987310517652264</cx:pt>
          <cx:pt idx="2264">2.9136980075178736</cx:pt>
          <cx:pt idx="2265">3.0488231825663954</cx:pt>
          <cx:pt idx="2266">3.1530783971697414</cx:pt>
          <cx:pt idx="2267">3.2792607424514162</cx:pt>
          <cx:pt idx="2268">3.3832395646512539</cx:pt>
          <cx:pt idx="2269">3.4946809817458169</cx:pt>
          <cx:pt idx="2270">3.4998648748249512</cx:pt>
          <cx:pt idx="2271">3.5131501363535858</cx:pt>
          <cx:pt idx="2272">3.4895646512542076</cx:pt>
          <cx:pt idx="2273">3.4810026287988598</cx:pt>
          <cx:pt idx="2274">3.4669741788074586</cx:pt>
          <cx:pt idx="2275">3.473730437559885</cx:pt>
          <cx:pt idx="2276">3.4682824361840652</cx:pt>
          <cx:pt idx="2277">3.4892268383165868</cx:pt>
          <cx:pt idx="2278">3.4967999901727151</cx:pt>
          <cx:pt idx="2279">3.4879370071002143</cx:pt>
          <cx:pt idx="2280">3.4754747807286934</cx:pt>
          <cx:pt idx="2281">3.4650455740363126</cx:pt>
          <cx:pt idx="2282">3.4622693658944059</cx:pt>
          <cx:pt idx="2283">3.457005626120925</cx:pt>
          <cx:pt idx="2284">3.4354347345404519</cx:pt>
          <cx:pt idx="2285">3.3941908458835957</cx:pt>
          <cx:pt idx="2286">3.394184703830184</cx:pt>
          <cx:pt idx="2287">3.39605803012063</cx:pt>
          <cx:pt idx="2288">3.3745547011276806</cx:pt>
          <cx:pt idx="2289">3.3498636464142693</cx:pt>
          <cx:pt idx="2290">3.3429968307004398</cx:pt>
          <cx:pt idx="2291">3.3356755030341736</cx:pt>
          <cx:pt idx="2292">3.3393423089207181</cx:pt>
          <cx:pt idx="2293">3.3455703510797727</cx:pt>
          <cx:pt idx="2294">3.3411235044099952</cx:pt>
          <cx:pt idx="2295">3.3289745227624503</cx:pt>
          <cx:pt idx="2296">3.3194420558681186</cx:pt>
          <cx:pt idx="2297">3.319595607203401</cx:pt>
          <cx:pt idx="2298">3.3197184482716264</cx:pt>
          <cx:pt idx="2299">3.3323649362454857</cx:pt>
          <cx:pt idx="2300">3.3407181288848489</cx:pt>
          <cx:pt idx="2301">3.3191595214111986</cx:pt>
          <cx:pt idx="2302">3.3244601135051477</cx:pt>
          <cx:pt idx="2303">3.3330098518536726</cx:pt>
          <cx:pt idx="2304">3.3440901162076511</cx:pt>
          <cx:pt idx="2305">3.361410706827507</cx:pt>
          <cx:pt idx="2306">3.3523204677787874</cx:pt>
          <cx:pt idx="2307">3.3665086111588822</cx:pt>
          <cx:pt idx="2308">3.3369039137164331</cx:pt>
          <cx:pt idx="2309">3.3511043412033508</cx:pt>
          <cx:pt idx="2310">3.3397538264992748</cx:pt>
          <cx:pt idx="2311">3.3353622583101981</cx:pt>
          <cx:pt idx="2312">3.327752254133602</cx:pt>
          <cx:pt idx="2313">3.3458958799105716</cx:pt>
          <cx:pt idx="2314">3.3665331793725275</cx:pt>
          <cx:pt idx="2315">3.3712748446060492</cx:pt>
          <cx:pt idx="2316">3.4073286981303594</cx:pt>
          <cx:pt idx="2317">3.4047367515907925</cx:pt>
          <cx:pt idx="2318">3.4063951060118427</cx:pt>
          <cx:pt idx="2319">3.4217379554332616</cx:pt>
          <cx:pt idx="2320">3.4384566248188113</cx:pt>
          <cx:pt idx="2321">3.4416566346460966</cx:pt>
          <cx:pt idx="2322">3.4515207724246388</cx:pt>
          <cx:pt idx="2323">3.4760091393754773</cx:pt>
          <cx:pt idx="2324">3.4523868019556314</cx:pt>
          <cx:pt idx="2325">3.4472213350367307</cx:pt>
          <cx:pt idx="2326">3.4419146008893704</cx:pt>
          <cx:pt idx="2327">3.4123836080878571</cx:pt>
          <cx:pt idx="2328">3.4096135419993625</cx:pt>
          <cx:pt idx="2329">3.4044050807065833</cx:pt>
          <cx:pt idx="2330">3.3978883620371967</cx:pt>
          <cx:pt idx="2331">3.3800518389307923</cx:pt>
          <cx:pt idx="2332">3.3855919711077811</cx:pt>
          <cx:pt idx="2333">3.3883620371962762</cx:pt>
          <cx:pt idx="2334">3.4026177431638955</cx:pt>
          <cx:pt idx="2335">3.4056027811217855</cx:pt>
          <cx:pt idx="2336">3.4029924084219845</cx:pt>
          <cx:pt idx="2337">3.3956833648625415</cx:pt>
          <cx:pt idx="2338">3.3906775913323353</cx:pt>
          <cx:pt idx="2339">3.3978453676633178</cx:pt>
          <cx:pt idx="2340">3.3851681694224021</cx:pt>
          <cx:pt idx="2341">3.3871152003537834</cx:pt>
          <cx:pt idx="2342">3.4104058668894197</cx:pt>
          <cx:pt idx="2343">3.4144043436601739</cx:pt>
          <cx:pt idx="2344">3.4203068569884296</cx:pt>
          <cx:pt idx="2345">3.4299867331646321</cx:pt>
          <cx:pt idx="2346">3.4377257204628662</cx:pt>
          <cx:pt idx="2347">3.4294278063042043</cx:pt>
          <cx:pt idx="2348">3.4123528978208002</cx:pt>
          <cx:pt idx="2349">3.4116772719455573</cx:pt>
          <cx:pt idx="2350">3.4180281551728373</cx:pt>
          <cx:pt idx="2351">3.4261848021030392</cx:pt>
          <cx:pt idx="2352">3.434617841436749</cx:pt>
          <cx:pt idx="2353">3.4220143478367686</cx:pt>
          <cx:pt idx="2354">3.3967029457288156</cx:pt>
          <cx:pt idx="2355">3.4317126501732051</cx:pt>
          <cx:pt idx="2356">3.4528843082819436</cx:pt>
          <cx:pt idx="2357">3.4702663194359129</cx:pt>
          <cx:pt idx="2358">3.4862356583052843</cx:pt>
          <cx:pt idx="2359">3.4838156892612333</cx:pt>
          <cx:pt idx="2360">3.4605495909392423</cx:pt>
          <cx:pt idx="2361">3.4465027147876079</cx:pt>
          <cx:pt idx="2362">3.4570547625482146</cx:pt>
          <cx:pt idx="2363">3.4860636808097683</cx:pt>
          <cx:pt idx="2364">3.4725450212515052</cx:pt>
          <cx:pt idx="2365">3.4668390536324107</cx:pt>
          <cx:pt idx="2366">3.4369333955728076</cx:pt>
          <cx:pt idx="2367">3.4468159595115835</cx:pt>
          <cx:pt idx="2368">3.4558939144534802</cx:pt>
          <cx:pt idx="2369">3.437308060830897</cx:pt>
          <cx:pt idx="2370">3.4461710439033975</cx:pt>
          <cx:pt idx="2371">3.4437547600913936</cx:pt>
          <cx:pt idx="2372">3.4540601938177899</cx:pt>
          <cx:pt idx="2373">3.4520794799260139</cx:pt>
          <cx:pt idx="2374">3.4576951284872073</cx:pt>
          <cx:pt idx="2375">3.4469799050911005</cx:pt>
          <cx:pt idx="2376">3.43110434120335</cx:pt>
          <cx:pt idx="2377">3.4354531607006855</cx:pt>
          <cx:pt idx="2378">3.423358389350641</cx:pt>
          <cx:pt idx="2379">3.4529529876064529</cx:pt>
          <cx:pt idx="2380">3.4396692416494394</cx:pt>
          <cx:pt idx="2381">3.4308834729626803</cx:pt>
          <cx:pt idx="2382">3.4247604922435566</cx:pt>
          <cx:pt idx="2383">3.4067656765676566</cx:pt>
          <cx:pt idx="2384">3.4239057389901895</cx:pt>
          <cx:pt idx="2385">3.4418911843107391</cx:pt>
          <cx:pt idx="2386">3.406054836252856</cx:pt>
          <cx:pt idx="2387">3.3678190621259927</cx:pt>
          <cx:pt idx="2388">3.3529058527154496</cx:pt>
          <cx:pt idx="2389">3.34290111703478</cx:pt>
          <cx:pt idx="2390">3.3671847954026166</cx:pt>
          <cx:pt idx="2391">3.4006283320639752</cx:pt>
          <cx:pt idx="2392">3.447596682745198</cx:pt>
          <cx:pt idx="2393">3.442569497334349</cx:pt>
          <cx:pt idx="2394">3.355402023718856</cx:pt>
          <cx:pt idx="2395">3.3657654226961156</cx:pt>
          <cx:pt idx="2396">3.302284843869002</cx:pt>
          <cx:pt idx="2397">3.3700019040365579</cx:pt>
          <cx:pt idx="2398">3.1414699162223916</cx:pt>
          <cx:pt idx="2399">3.1701256664127953</cx:pt>
          <cx:pt idx="2400">3.2730388423457732</cx:pt>
        </cx:lvl>
      </cx:numDim>
    </cx:data>
    <cx:data id="6">
      <cx:numDim type="val">
        <cx:f>'DRT Rolling Mean'!$I$2:$I$1048576</cx:f>
        <cx:lvl ptCount="2401" formatCode="#,##0.00">
          <cx:pt idx="0">75.922580645161275</cx:pt>
          <cx:pt idx="1">75.892082111436963</cx:pt>
          <cx:pt idx="2">75.99061583577712</cx:pt>
          <cx:pt idx="3">76.051612903225816</cx:pt>
          <cx:pt idx="4">76.205278592375365</cx:pt>
          <cx:pt idx="5">76.185337243401747</cx:pt>
          <cx:pt idx="6">76.369501466275651</cx:pt>
          <cx:pt idx="7">76.316129032258047</cx:pt>
          <cx:pt idx="8">76.373020527859225</cx:pt>
          <cx:pt idx="9">76.34134897360704</cx:pt>
          <cx:pt idx="10">76.394134897360715</cx:pt>
          <cx:pt idx="11">76.500879765395908</cx:pt>
          <cx:pt idx="12">76.357184750733168</cx:pt>
          <cx:pt idx="13">76.23929618768328</cx:pt>
          <cx:pt idx="14">76.143695014662768</cx:pt>
          <cx:pt idx="15">76.073313782991221</cx:pt>
          <cx:pt idx="16">76.167155425219946</cx:pt>
          <cx:pt idx="17">76.169501466275662</cx:pt>
          <cx:pt idx="18">76.158357771260995</cx:pt>
          <cx:pt idx="19">76.141348973607023</cx:pt>
          <cx:pt idx="20">76.094428152492668</cx:pt>
          <cx:pt idx="21">76.202932551319648</cx:pt>
          <cx:pt idx="22">76.089149560117292</cx:pt>
          <cx:pt idx="23">76.219354838709663</cx:pt>
          <cx:pt idx="24">76.250439882697933</cx:pt>
          <cx:pt idx="25">76.247507331378287</cx:pt>
          <cx:pt idx="26">76.414662756598247</cx:pt>
          <cx:pt idx="27">76.40351906158358</cx:pt>
          <cx:pt idx="28">76.500293255131965</cx:pt>
          <cx:pt idx="29">76.419941348973595</cx:pt>
          <cx:pt idx="30">76.394134897360715</cx:pt>
          <cx:pt idx="31">76.55542521994137</cx:pt>
          <cx:pt idx="32">76.531378299120249</cx:pt>
          <cx:pt idx="33">76.391202346041069</cx:pt>
          <cx:pt idx="34">76.3777126099707</cx:pt>
          <cx:pt idx="35">76.31319648093843</cx:pt>
          <cx:pt idx="36">76.219354838709677</cx:pt>
          <cx:pt idx="37">76.049853372434029</cx:pt>
          <cx:pt idx="38">76.224633431085053</cx:pt>
          <cx:pt idx="39">76.201173020527847</cx:pt>
          <cx:pt idx="40">76.327272727272728</cx:pt>
          <cx:pt idx="41">76.366568914956019</cx:pt>
          <cx:pt idx="42">76.226979472140755</cx:pt>
          <cx:pt idx="43">76.269794721407621</cx:pt>
          <cx:pt idx="44">76.290322580645139</cx:pt>
          <cx:pt idx="45">76.380058651026388</cx:pt>
          <cx:pt idx="46">76.32903225806453</cx:pt>
          <cx:pt idx="47">76.321994134897366</cx:pt>
          <cx:pt idx="48">76.26686217008799</cx:pt>
          <cx:pt idx="49">76.205278592375365</cx:pt>
          <cx:pt idx="50">76.408211143695013</cx:pt>
          <cx:pt idx="51">76.348973607038133</cx:pt>
          <cx:pt idx="52">76.187096774193549</cx:pt>
          <cx:pt idx="53">76.35953079178887</cx:pt>
          <cx:pt idx="54">76.373020527859254</cx:pt>
          <cx:pt idx="55">76.425219941348985</cx:pt>
          <cx:pt idx="56">76.401173020527864</cx:pt>
          <cx:pt idx="57">76.27976539589443</cx:pt>
          <cx:pt idx="58">76.149560117302059</cx:pt>
          <cx:pt idx="59">76.159530791788853</cx:pt>
          <cx:pt idx="60">76.319061583577735</cx:pt>
          <cx:pt idx="61">76.335483870967749</cx:pt>
          <cx:pt idx="62">76.26686217008799</cx:pt>
          <cx:pt idx="63">76.265102639296188</cx:pt>
          <cx:pt idx="64">76.400586510263921</cx:pt>
          <cx:pt idx="65">76.336656891495608</cx:pt>
          <cx:pt idx="66">76.273313782991195</cx:pt>
          <cx:pt idx="67">76.385337243401764</cx:pt>
          <cx:pt idx="68">76.405865102639297</cx:pt>
          <cx:pt idx="69">76.32903225806453</cx:pt>
          <cx:pt idx="70">76.236950146627564</cx:pt>
          <cx:pt idx="71">76.23284457478006</cx:pt>
          <cx:pt idx="72">76.147214076246328</cx:pt>
          <cx:pt idx="73">76.310850439882699</cx:pt>
          <cx:pt idx="74">76.315542521994146</cx:pt>
          <cx:pt idx="75">76.430498533724361</cx:pt>
          <cx:pt idx="76">76.405865102639325</cx:pt>
          <cx:pt idx="77">76.432258064516148</cx:pt>
          <cx:pt idx="78">76.295601173020543</cx:pt>
          <cx:pt idx="79">76.243401759530784</cx:pt>
          <cx:pt idx="80">76.40351906158358</cx:pt>
          <cx:pt idx="81">76.27976539589443</cx:pt>
          <cx:pt idx="82">76.28328445747799</cx:pt>
          <cx:pt idx="83">76.453372434017567</cx:pt>
          <cx:pt idx="84">76.287976539589422</cx:pt>
          <cx:pt idx="85">76.21818181818179</cx:pt>
          <cx:pt idx="86">76.112023460410541</cx:pt>
          <cx:pt idx="87">76.113782991202328</cx:pt>
          <cx:pt idx="88">76.140762463343094</cx:pt>
          <cx:pt idx="89">76.171847507331364</cx:pt>
          <cx:pt idx="90">76.160117302052768</cx:pt>
          <cx:pt idx="91">75.992375366568893</cx:pt>
          <cx:pt idx="92">76.130791788856271</cx:pt>
          <cx:pt idx="93">76.086803519061561</cx:pt>
          <cx:pt idx="94">76.221114369501436</cx:pt>
          <cx:pt idx="95">76.253958944281493</cx:pt>
          <cx:pt idx="96">76.206451612903209</cx:pt>
          <cx:pt idx="97">76.217595307917875</cx:pt>
          <cx:pt idx="98">76.060410557184738</cx:pt>
          <cx:pt idx="99">76.149560117302045</cx:pt>
          <cx:pt idx="100">76.059237536656894</cx:pt>
          <cx:pt idx="101">76.074486803519079</cx:pt>
          <cx:pt idx="102">76.086217008797647</cx:pt>
          <cx:pt idx="103">76.062756598240483</cx:pt>
          <cx:pt idx="104">76.065689149560114</cx:pt>
          <cx:pt idx="105">76.003519061583589</cx:pt>
          <cx:pt idx="106">75.969501466275659</cx:pt>
          <cx:pt idx="107">75.893841642228736</cx:pt>
          <cx:pt idx="108">75.927272727272722</cx:pt>
          <cx:pt idx="109">76.02463343108505</cx:pt>
          <cx:pt idx="110">76.066862170087973</cx:pt>
          <cx:pt idx="111">76.119648093841633</cx:pt>
          <cx:pt idx="112">76.055131964809377</cx:pt>
          <cx:pt idx="113">76.23401759530789</cx:pt>
          <cx:pt idx="114">76.137829912023435</cx:pt>
          <cx:pt idx="115">76.128445747800555</cx:pt>
          <cx:pt idx="116">76.078592375366568</cx:pt>
          <cx:pt idx="117">76.091495601173008</cx:pt>
          <cx:pt idx="118">76.009970674486794</cx:pt>
          <cx:pt idx="119">75.956011730205276</cx:pt>
          <cx:pt idx="120">75.921994134897346</cx:pt>
          <cx:pt idx="121">75.878005865102637</cx:pt>
          <cx:pt idx="122">76.035777126099703</cx:pt>
          <cx:pt idx="123">75.887390029325502</cx:pt>
          <cx:pt idx="124">75.897360703812311</cx:pt>
          <cx:pt idx="125">75.864516129032253</cx:pt>
          <cx:pt idx="126">75.758357771260975</cx:pt>
          <cx:pt idx="127">75.969501466275659</cx:pt>
          <cx:pt idx="128">75.948973607038127</cx:pt>
          <cx:pt idx="129">76.071554252199405</cx:pt>
          <cx:pt idx="130">75.995307917888553</cx:pt>
          <cx:pt idx="131">76.076832844574767</cx:pt>
          <cx:pt idx="132">76.205865102639279</cx:pt>
          <cx:pt idx="133">76.0815249266862</cx:pt>
          <cx:pt idx="134">76.196480938416428</cx:pt>
          <cx:pt idx="135">76.138416422287392</cx:pt>
          <cx:pt idx="136">76.18651026392962</cx:pt>
          <cx:pt idx="137">76.187683284457492</cx:pt>
          <cx:pt idx="138">76.229325513196486</cx:pt>
          <cx:pt idx="139">76.190029325513194</cx:pt>
          <cx:pt idx="140">76.048093841642228</cx:pt>
          <cx:pt idx="141">75.905571847507332</cx:pt>
          <cx:pt idx="142">75.874486803519062</cx:pt>
          <cx:pt idx="143">76.022287390029334</cx:pt>
          <cx:pt idx="144">75.929618768328453</cx:pt>
          <cx:pt idx="145">75.975953079178893</cx:pt>
          <cx:pt idx="146">75.950733137829928</cx:pt>
          <cx:pt idx="147">76.033431085043986</cx:pt>
          <cx:pt idx="148">76.171847507331393</cx:pt>
          <cx:pt idx="149">76.306158357771281</cx:pt>
          <cx:pt idx="150">76.46217008797656</cx:pt>
          <cx:pt idx="151">76.456304985337241</cx:pt>
          <cx:pt idx="152">76.488563049853369</cx:pt>
          <cx:pt idx="153">76.439882697947212</cx:pt>
          <cx:pt idx="154">76.572434017595285</cx:pt>
          <cx:pt idx="155">76.664516129032236</cx:pt>
          <cx:pt idx="156">76.628739002932534</cx:pt>
          <cx:pt idx="157">76.693255131964804</cx:pt>
          <cx:pt idx="158">76.652785923753655</cx:pt>
          <cx:pt idx="159">76.608797653958931</cx:pt>
          <cx:pt idx="160">76.653958944281513</cx:pt>
          <cx:pt idx="161">76.764809384164224</cx:pt>
          <cx:pt idx="162">76.733137829912025</cx:pt>
          <cx:pt idx="163">76.703812316715542</cx:pt>
          <cx:pt idx="164">76.684457478005854</cx:pt>
          <cx:pt idx="165">76.679765395894407</cx:pt>
          <cx:pt idx="166">76.69325513196479</cx:pt>
          <cx:pt idx="167">76.688563049853357</cx:pt>
          <cx:pt idx="168">76.638709677419328</cx:pt>
          <cx:pt idx="169">76.689149560117286</cx:pt>
          <cx:pt idx="170">76.808211143695033</cx:pt>
          <cx:pt idx="171">76.957184750733134</cx:pt>
          <cx:pt idx="172">77.143108504398811</cx:pt>
          <cx:pt idx="173">76.952492668621687</cx:pt>
          <cx:pt idx="174">76.889736070381218</cx:pt>
          <cx:pt idx="175">76.924926686216992</cx:pt>
          <cx:pt idx="176">76.754838709677401</cx:pt>
          <cx:pt idx="177">76.756011730205287</cx:pt>
          <cx:pt idx="178">76.641642228739002</cx:pt>
          <cx:pt idx="179">76.639296187683286</cx:pt>
          <cx:pt idx="180">76.551319648093838</cx:pt>
          <cx:pt idx="181">76.4258064516129</cx:pt>
          <cx:pt idx="182">76.437536656891496</cx:pt>
          <cx:pt idx="183">76.472727272727283</cx:pt>
          <cx:pt idx="184">76.50322580645161</cx:pt>
          <cx:pt idx="185">76.336070381231679</cx:pt>
          <cx:pt idx="186">76.22346041055718</cx:pt>
          <cx:pt idx="187">76.306158357771253</cx:pt>
          <cx:pt idx="188">76.171260997067421</cx:pt>
          <cx:pt idx="189">76.007624633431064</cx:pt>
          <cx:pt idx="190">76.095601173020512</cx:pt>
          <cx:pt idx="191">75.957771260997049</cx:pt>
          <cx:pt idx="192">75.946627565982411</cx:pt>
          <cx:pt idx="193">76.031671554252199</cx:pt>
          <cx:pt idx="194">75.90674486803519</cx:pt>
          <cx:pt idx="195">76.026392961876823</cx:pt>
          <cx:pt idx="196">76.076246334310838</cx:pt>
          <cx:pt idx="197">75.978299120234595</cx:pt>
          <cx:pt idx="198">76.043401759530781</cx:pt>
          <cx:pt idx="199">75.950146627565985</cx:pt>
          <cx:pt idx="200">75.9841642228739</cx:pt>
          <cx:pt idx="201">75.910263929618765</cx:pt>
          <cx:pt idx="202">75.845161290322579</cx:pt>
          <cx:pt idx="203">75.652199413489726</cx:pt>
          <cx:pt idx="204">75.794134897360706</cx:pt>
          <cx:pt idx="205">75.817008797653969</cx:pt>
          <cx:pt idx="206">75.68328445747801</cx:pt>
          <cx:pt idx="207">75.700879765395896</cx:pt>
          <cx:pt idx="208">75.737243401759528</cx:pt>
          <cx:pt idx="209">75.906158357771261</cx:pt>
          <cx:pt idx="210">75.807624633431075</cx:pt>
          <cx:pt idx="211">75.700293255131953</cx:pt>
          <cx:pt idx="212">75.634604105571839</cx:pt>
          <cx:pt idx="213">75.76715542521994</cx:pt>
          <cx:pt idx="214">75.765982404692082</cx:pt>
          <cx:pt idx="215">75.700879765395882</cx:pt>
          <cx:pt idx="216">75.825219941348976</cx:pt>
          <cx:pt idx="217">76.013489736070383</cx:pt>
          <cx:pt idx="218">76.123753665689151</cx:pt>
          <cx:pt idx="219">76.276246334310855</cx:pt>
          <cx:pt idx="220">76.385337243401764</cx:pt>
          <cx:pt idx="221">76.43753665689151</cx:pt>
          <cx:pt idx="222">76.576539589442817</cx:pt>
          <cx:pt idx="223">76.694428152492662</cx:pt>
          <cx:pt idx="224">76.744281524926677</cx:pt>
          <cx:pt idx="225">76.899120234604098</cx:pt>
          <cx:pt idx="226">76.860997067448693</cx:pt>
          <cx:pt idx="227">76.924926686216992</cx:pt>
          <cx:pt idx="228">76.966568914956042</cx:pt>
          <cx:pt idx="229">77.073900293255136</cx:pt>
          <cx:pt idx="230">77.302639296187692</cx:pt>
          <cx:pt idx="231">77.222287390029308</cx:pt>
          <cx:pt idx="232">77.364222873900289</cx:pt>
          <cx:pt idx="233">77.354252199413509</cx:pt>
          <cx:pt idx="234">77.555425219941355</cx:pt>
          <cx:pt idx="235">77.557184750733143</cx:pt>
          <cx:pt idx="236">77.546041055718462</cx:pt>
          <cx:pt idx="237">77.720821114369485</cx:pt>
          <cx:pt idx="238">77.974193548387078</cx:pt>
          <cx:pt idx="239">78.076832844574767</cx:pt>
          <cx:pt idx="240">78.04398826979471</cx:pt>
          <cx:pt idx="241">78.142521994134881</cx:pt>
          <cx:pt idx="242">78.306158357771253</cx:pt>
          <cx:pt idx="243">78.547800586510277</cx:pt>
          <cx:pt idx="244">78.678592375366563</cx:pt>
          <cx:pt idx="245">78.707331378299116</cx:pt>
          <cx:pt idx="246">78.871554252199402</cx:pt>
          <cx:pt idx="247">78.937243401759517</cx:pt>
          <cx:pt idx="248">78.913782991202339</cx:pt>
          <cx:pt idx="249">78.918475073313772</cx:pt>
          <cx:pt idx="250">78.959530791788822</cx:pt>
          <cx:pt idx="251">78.998826979472113</cx:pt>
          <cx:pt idx="252">79.043988269794696</cx:pt>
          <cx:pt idx="253">78.990029325513177</cx:pt>
          <cx:pt idx="254">78.852785923753643</cx:pt>
          <cx:pt idx="255">78.840469208211132</cx:pt>
          <cx:pt idx="256">78.792375366568905</cx:pt>
          <cx:pt idx="257">78.64692082111435</cx:pt>
          <cx:pt idx="258">78.463929618768319</cx:pt>
          <cx:pt idx="259">78.392961876832828</cx:pt>
          <cx:pt idx="260">78.26686217008799</cx:pt>
          <cx:pt idx="261">78.076832844574781</cx:pt>
          <cx:pt idx="262">78.110263929618768</cx:pt>
          <cx:pt idx="263">77.953079178885631</cx:pt>
          <cx:pt idx="264">77.839296187683303</cx:pt>
          <cx:pt idx="265">77.735483870967769</cx:pt>
          <cx:pt idx="266">77.588269794721413</cx:pt>
          <cx:pt idx="267">77.490322580645184</cx:pt>
          <cx:pt idx="268">77.340175953079196</cx:pt>
          <cx:pt idx="269">77.074486803519065</cx:pt>
          <cx:pt idx="270">76.956598240469205</cx:pt>
          <cx:pt idx="271">76.948973607038127</cx:pt>
          <cx:pt idx="272">76.834017595307913</cx:pt>
          <cx:pt idx="273">76.733137829911996</cx:pt>
          <cx:pt idx="274">76.699120234604081</cx:pt>
          <cx:pt idx="275">76.647507331378279</cx:pt>
          <cx:pt idx="276">76.583577712609952</cx:pt>
          <cx:pt idx="277">76.320821114369494</cx:pt>
          <cx:pt idx="278">76.22346041055718</cx:pt>
          <cx:pt idx="279">76.022873900293249</cx:pt>
          <cx:pt idx="280">75.860997067448679</cx:pt>
          <cx:pt idx="281">75.675659824046917</cx:pt>
          <cx:pt idx="282">75.713196480938421</cx:pt>
          <cx:pt idx="283">75.51260997067449</cx:pt>
          <cx:pt idx="284">75.374780058651027</cx:pt>
          <cx:pt idx="285">75.341935483870969</cx:pt>
          <cx:pt idx="286">75.244574780058642</cx:pt>
          <cx:pt idx="287">75.147214076246328</cx:pt>
          <cx:pt idx="288">75.2457478005865</cx:pt>
          <cx:pt idx="289">75.194721407624641</cx:pt>
          <cx:pt idx="290">75.251612903225819</cx:pt>
          <cx:pt idx="291">75.364222873900303</cx:pt>
          <cx:pt idx="292">75.524926686217015</cx:pt>
          <cx:pt idx="293">75.401759530791793</cx:pt>
          <cx:pt idx="294">75.406451612903226</cx:pt>
          <cx:pt idx="295">75.609970674486789</cx:pt>
          <cx:pt idx="296">75.59999999999998</cx:pt>
          <cx:pt idx="297">75.604105571847484</cx:pt>
          <cx:pt idx="298">75.787096774193543</cx:pt>
          <cx:pt idx="299">75.987096774193546</cx:pt>
          <cx:pt idx="300">76.007038123167163</cx:pt>
          <cx:pt idx="301">76.005865102639305</cx:pt>
          <cx:pt idx="302">75.873900293255133</cx:pt>
          <cx:pt idx="303">76.017595307917887</cx:pt>
          <cx:pt idx="304">76.026392961876851</cx:pt>
          <cx:pt idx="305">76.026392961876837</cx:pt>
          <cx:pt idx="306">75.985923753665702</cx:pt>
          <cx:pt idx="307">75.814662756598267</cx:pt>
          <cx:pt idx="308">75.980645161290326</cx:pt>
          <cx:pt idx="309">76.045747800586511</cx:pt>
          <cx:pt idx="310">76.158944281524924</cx:pt>
          <cx:pt idx="311">76.101466275659831</cx:pt>
          <cx:pt idx="312">76.14897360703813</cx:pt>
          <cx:pt idx="313">76.001173020527858</cx:pt>
          <cx:pt idx="314">76.212316715542514</cx:pt>
          <cx:pt idx="315">76.241642228738982</cx:pt>
          <cx:pt idx="316">76.148387096774172</cx:pt>
          <cx:pt idx="317">76.134310850439874</cx:pt>
          <cx:pt idx="318">76.117302052785917</cx:pt>
          <cx:pt idx="319">76.121994134897349</cx:pt>
          <cx:pt idx="320">76.288563049853366</cx:pt>
          <cx:pt idx="321">76.338416422287381</cx:pt>
          <cx:pt idx="322">76.293841642228728</cx:pt>
          <cx:pt idx="323">76.263929618768302</cx:pt>
          <cx:pt idx="324">76.307917888563054</cx:pt>
          <cx:pt idx="325">76.264516129032273</cx:pt>
          <cx:pt idx="326">76.171260997067449</cx:pt>
          <cx:pt idx="327">76.233431085044032</cx:pt>
          <cx:pt idx="328">76.386510263929637</cx:pt>
          <cx:pt idx="329">76.394134897360729</cx:pt>
          <cx:pt idx="330">76.21114369501467</cx:pt>
          <cx:pt idx="331">76.293255131964813</cx:pt>
          <cx:pt idx="332">76.261583577712614</cx:pt>
          <cx:pt idx="333">76.287390029325522</cx:pt>
          <cx:pt idx="334">76.239882697947195</cx:pt>
          <cx:pt idx="335">76.262756598240443</cx:pt>
          <cx:pt idx="336">76.119648093841633</cx:pt>
          <cx:pt idx="337">76.156011730205265</cx:pt>
          <cx:pt idx="338">76.226979472140741</cx:pt>
          <cx:pt idx="339">76.260997067448685</cx:pt>
          <cx:pt idx="340">76.231085043988259</cx:pt>
          <cx:pt idx="341">76.29208211143694</cx:pt>
          <cx:pt idx="342">76.448093841642233</cx:pt>
          <cx:pt idx="343">76.531378299120234</cx:pt>
          <cx:pt idx="344">76.620527859237527</cx:pt>
          <cx:pt idx="345">76.457478005865099</cx:pt>
          <cx:pt idx="346">76.591788856304973</cx:pt>
          <cx:pt idx="347">76.698533724340166</cx:pt>
          <cx:pt idx="348">76.770674486803514</cx:pt>
          <cx:pt idx="349">76.827565982404678</cx:pt>
          <cx:pt idx="350">76.879178885630495</cx:pt>
          <cx:pt idx="351">76.758357771261004</cx:pt>
          <cx:pt idx="352">76.718475073313769</cx:pt>
          <cx:pt idx="353">76.749560117302067</cx:pt>
          <cx:pt idx="354">76.713196480938407</cx:pt>
          <cx:pt idx="355">76.700879765395882</cx:pt>
          <cx:pt idx="356">76.832258064516125</cx:pt>
          <cx:pt idx="357">76.750733137829926</cx:pt>
          <cx:pt idx="358">76.64926686217008</cx:pt>
          <cx:pt idx="359">76.50615835777127</cx:pt>
          <cx:pt idx="360">76.425219941348985</cx:pt>
          <cx:pt idx="361">76.386510263929637</cx:pt>
          <cx:pt idx="362">76.290909090909111</cx:pt>
          <cx:pt idx="363">76.334897360703835</cx:pt>
          <cx:pt idx="364">76.472140762463368</cx:pt>
          <cx:pt idx="365">76.306158357771281</cx:pt>
          <cx:pt idx="366">76.379472140762488</cx:pt>
          <cx:pt idx="367">76.397653958944304</cx:pt>
          <cx:pt idx="368">76.314956011730231</cx:pt>
          <cx:pt idx="369">76.350733137829934</cx:pt>
          <cx:pt idx="370">76.219354838709663</cx:pt>
          <cx:pt idx="371">76.145454545454541</cx:pt>
          <cx:pt idx="372">76.131964809384158</cx:pt>
          <cx:pt idx="373">75.977126099706737</cx:pt>
          <cx:pt idx="374">75.857478005865119</cx:pt>
          <cx:pt idx="375">75.828739002932565</cx:pt>
          <cx:pt idx="376">75.77888563049855</cx:pt>
          <cx:pt idx="377">75.767741935483869</cx:pt>
          <cx:pt idx="378">75.683870967741925</cx:pt>
          <cx:pt idx="379">75.729032258064507</cx:pt>
          <cx:pt idx="380">75.754252199413472</cx:pt>
          <cx:pt idx="381">75.72023460410557</cx:pt>
          <cx:pt idx="382">75.715542521994124</cx:pt>
          <cx:pt idx="383">75.744281524926677</cx:pt>
          <cx:pt idx="384">75.750733137829897</cx:pt>
          <cx:pt idx="385">75.799999999999997</cx:pt>
          <cx:pt idx="386">75.793548387096777</cx:pt>
          <cx:pt idx="387">75.663343108504378</cx:pt>
          <cx:pt idx="388">75.714369501466265</cx:pt>
          <cx:pt idx="389">75.806451612903231</cx:pt>
          <cx:pt idx="390">75.806451612903231</cx:pt>
          <cx:pt idx="391">75.728445747800563</cx:pt>
          <cx:pt idx="392">75.853372434017587</cx:pt>
          <cx:pt idx="393">75.991788856304979</cx:pt>
          <cx:pt idx="394">76.052199413489703</cx:pt>
          <cx:pt idx="395">75.99061583577712</cx:pt>
          <cx:pt idx="396">76.005278592375348</cx:pt>
          <cx:pt idx="397">75.980058651026383</cx:pt>
          <cx:pt idx="398">76.109677419354824</cx:pt>
          <cx:pt idx="399">76.008211143694993</cx:pt>
          <cx:pt idx="400">76.120821114369477</cx:pt>
          <cx:pt idx="401">76.058064516129022</cx:pt>
          <cx:pt idx="402">76.085043988269774</cx:pt>
          <cx:pt idx="403">76.083284457477987</cx:pt>
          <cx:pt idx="404">76.25102639296189</cx:pt>
          <cx:pt idx="405">76.251612903225819</cx:pt>
          <cx:pt idx="406">76.198826979472145</cx:pt>
          <cx:pt idx="407">76.215835777126102</cx:pt>
          <cx:pt idx="408">76.137243401759548</cx:pt>
          <cx:pt idx="409">76.27331378299121</cx:pt>
          <cx:pt idx="410">76.170674486803506</cx:pt>
          <cx:pt idx="411">76.209970674486812</cx:pt>
          <cx:pt idx="412">76.278592375366557</cx:pt>
          <cx:pt idx="413">76.310263929618756</cx:pt>
          <cx:pt idx="414">76.156598240469208</cx:pt>
          <cx:pt idx="415">76.106744868035193</cx:pt>
          <cx:pt idx="416">75.972434017595333</cx:pt>
          <cx:pt idx="417">75.978885630498553</cx:pt>
          <cx:pt idx="418">76.015249266862185</cx:pt>
          <cx:pt idx="419">76.13958944281525</cx:pt>
          <cx:pt idx="420">76.018181818181816</cx:pt>
          <cx:pt idx="421">76.212316715542514</cx:pt>
          <cx:pt idx="422">76.255131964809394</cx:pt>
          <cx:pt idx="423">76.143108504398839</cx:pt>
          <cx:pt idx="424">76.061583577712625</cx:pt>
          <cx:pt idx="425">76.045161290322582</cx:pt>
          <cx:pt idx="426">76.029912023460412</cx:pt>
          <cx:pt idx="427">76.211730205278585</cx:pt>
          <cx:pt idx="428">76.268621700879763</cx:pt>
          <cx:pt idx="429">76.213489736070372</cx:pt>
          <cx:pt idx="430">76.373607038123154</cx:pt>
          <cx:pt idx="431">76.350146627565991</cx:pt>
          <cx:pt idx="432">76.519648093841639</cx:pt>
          <cx:pt idx="433">76.546627565982419</cx:pt>
          <cx:pt idx="434">76.468035190615851</cx:pt>
          <cx:pt idx="435">76.310263929618799</cx:pt>
          <cx:pt idx="436">76.485630498533752</cx:pt>
          <cx:pt idx="437">76.505571847507355</cx:pt>
          <cx:pt idx="438">76.503812316715567</cx:pt>
          <cx:pt idx="439">76.448680351906162</cx:pt>
          <cx:pt idx="440">76.383577712609977</cx:pt>
          <cx:pt idx="441">76.341935483870984</cx:pt>
          <cx:pt idx="442">76.344868035190629</cx:pt>
          <cx:pt idx="443">76.171260997067449</cx:pt>
          <cx:pt idx="444">76.269208211143706</cx:pt>
          <cx:pt idx="445">76.401759530791807</cx:pt>
          <cx:pt idx="446">76.42815249266863</cx:pt>
          <cx:pt idx="447">76.519648093841639</cx:pt>
          <cx:pt idx="448">76.548973607038107</cx:pt>
          <cx:pt idx="449">76.665689149560095</cx:pt>
          <cx:pt idx="450">76.639296187683257</cx:pt>
          <cx:pt idx="451">76.837536656891501</cx:pt>
          <cx:pt idx="452">76.80117302052787</cx:pt>
          <cx:pt idx="453">76.87565982404692</cx:pt>
          <cx:pt idx="454">77.032844574780057</cx:pt>
          <cx:pt idx="455">76.97536656891495</cx:pt>
          <cx:pt idx="456">77.082697947214072</cx:pt>
          <cx:pt idx="457">77.008211143695007</cx:pt>
          <cx:pt idx="458">76.843401759530792</cx:pt>
          <cx:pt idx="459">76.686803519061584</cx:pt>
          <cx:pt idx="460">76.604692082111455</cx:pt>
          <cx:pt idx="461">76.436950146627581</cx:pt>
          <cx:pt idx="462">76.392375366568928</cx:pt>
          <cx:pt idx="463">76.418181818181822</cx:pt>
          <cx:pt idx="464">76.37536656891497</cx:pt>
          <cx:pt idx="465">76.292668621700884</cx:pt>
          <cx:pt idx="466">76.245161290322613</cx:pt>
          <cx:pt idx="467">76.022287390029334</cx:pt>
          <cx:pt idx="468">76.080351906158384</cx:pt>
          <cx:pt idx="469">76.263929618768344</cx:pt>
          <cx:pt idx="470">76.452199413489737</cx:pt>
          <cx:pt idx="471">76.418181818181807</cx:pt>
          <cx:pt idx="472">76.482697947214049</cx:pt>
          <cx:pt idx="473">76.434017595307907</cx:pt>
          <cx:pt idx="474">76.480938416422291</cx:pt>
          <cx:pt idx="475">76.432258064516148</cx:pt>
          <cx:pt idx="476">76.378885630498544</cx:pt>
          <cx:pt idx="477">76.2950146627566</cx:pt>
          <cx:pt idx="478">76.237536656891479</cx:pt>
          <cx:pt idx="479">76.200586510263918</cx:pt>
          <cx:pt idx="480">76.087390029325505</cx:pt>
          <cx:pt idx="481">75.990615835777135</cx:pt>
          <cx:pt idx="482">75.917302052785914</cx:pt>
          <cx:pt idx="483">75.899706744868027</cx:pt>
          <cx:pt idx="484">75.799999999999983</cx:pt>
          <cx:pt idx="485">75.669794721407598</cx:pt>
          <cx:pt idx="486">75.821700879765388</cx:pt>
          <cx:pt idx="487">75.661583577712605</cx:pt>
          <cx:pt idx="488">75.72727272727272</cx:pt>
          <cx:pt idx="489">75.875073313782991</cx:pt>
          <cx:pt idx="490">75.834604105571856</cx:pt>
          <cx:pt idx="491">75.784750733137841</cx:pt>
          <cx:pt idx="492">75.926686217008807</cx:pt>
          <cx:pt idx="493">75.864516129032268</cx:pt>
          <cx:pt idx="494">75.785923753665685</cx:pt>
          <cx:pt idx="495">75.771847507331373</cx:pt>
          <cx:pt idx="496">75.837536656891487</cx:pt>
          <cx:pt idx="497">75.863929618768324</cx:pt>
          <cx:pt idx="498">75.887390029325502</cx:pt>
          <cx:pt idx="499">75.853958944281516</cx:pt>
          <cx:pt idx="500">75.832258064516125</cx:pt>
          <cx:pt idx="501">75.826392961876834</cx:pt>
          <cx:pt idx="502">75.824046920821104</cx:pt>
          <cx:pt idx="503">75.710850439882677</cx:pt>
          <cx:pt idx="504">75.825806451612905</cx:pt>
          <cx:pt idx="505">75.883284457477998</cx:pt>
          <cx:pt idx="506">75.919061583577701</cx:pt>
          <cx:pt idx="507">75.958357771260992</cx:pt>
          <cx:pt idx="508">75.890909090909076</cx:pt>
          <cx:pt idx="509">75.992961876832837</cx:pt>
          <cx:pt idx="510">76.156598240469194</cx:pt>
          <cx:pt idx="511">76.315542521994132</cx:pt>
          <cx:pt idx="512">76.395894428152488</cx:pt>
          <cx:pt idx="513">76.330791788856317</cx:pt>
          <cx:pt idx="514">76.291495601173011</cx:pt>
          <cx:pt idx="515">76.353665689149565</cx:pt>
          <cx:pt idx="516">76.519061583577709</cx:pt>
          <cx:pt idx="517">76.560703812316703</cx:pt>
          <cx:pt idx="518">76.626979472140746</cx:pt>
          <cx:pt idx="519">76.726686217008776</cx:pt>
          <cx:pt idx="520">76.629912023460406</cx:pt>
          <cx:pt idx="521">76.710850439882691</cx:pt>
          <cx:pt idx="522">76.870381231671573</cx:pt>
          <cx:pt idx="523">76.812316715542536</cx:pt>
          <cx:pt idx="524">76.74780058651028</cx:pt>
          <cx:pt idx="525">76.736656891495599</cx:pt>
          <cx:pt idx="526">76.85630498533726</cx:pt>
          <cx:pt idx="527">76.844574780058664</cx:pt>
          <cx:pt idx="528">77.008211143695021</cx:pt>
          <cx:pt idx="529">77.195894428152485</cx:pt>
          <cx:pt idx="530">77.139002932551307</cx:pt>
          <cx:pt idx="531">77.087976539589434</cx:pt>
          <cx:pt idx="532">77.075659824046909</cx:pt>
          <cx:pt idx="533">77.189442815249251</cx:pt>
          <cx:pt idx="534">77.412316715542516</cx:pt>
          <cx:pt idx="535">77.330791788856288</cx:pt>
          <cx:pt idx="536">77.393548387096757</cx:pt>
          <cx:pt idx="537">77.216422287390017</cx:pt>
          <cx:pt idx="538">77.117302052785931</cx:pt>
          <cx:pt idx="539">77.277419354838727</cx:pt>
          <cx:pt idx="540">77.262170087976543</cx:pt>
          <cx:pt idx="541">77.036950146627575</cx:pt>
          <cx:pt idx="542">76.851612903225828</cx:pt>
          <cx:pt idx="543">76.901466275659843</cx:pt>
          <cx:pt idx="544">76.831671554252225</cx:pt>
          <cx:pt idx="545">76.826392961876849</cx:pt>
          <cx:pt idx="546">76.750146627565996</cx:pt>
          <cx:pt idx="547">76.750146627565968</cx:pt>
          <cx:pt idx="548">76.66510263929618</cx:pt>
          <cx:pt idx="549">76.744868035190606</cx:pt>
          <cx:pt idx="550">76.716715542521996</cx:pt>
          <cx:pt idx="551">76.767741935483883</cx:pt>
          <cx:pt idx="552">76.758944281524933</cx:pt>
          <cx:pt idx="553">76.634604105571853</cx:pt>
          <cx:pt idx="554">76.726686217008805</cx:pt>
          <cx:pt idx="555">76.753079178885642</cx:pt>
          <cx:pt idx="556">76.842228739002948</cx:pt>
          <cx:pt idx="557">76.850439882697955</cx:pt>
          <cx:pt idx="558">76.970674486803517</cx:pt>
          <cx:pt idx="559">76.767155425219954</cx:pt>
          <cx:pt idx="560">76.771847507331387</cx:pt>
          <cx:pt idx="561">76.945454545454567</cx:pt>
          <cx:pt idx="562">76.815249266862182</cx:pt>
          <cx:pt idx="563">76.632258064516137</cx:pt>
          <cx:pt idx="564">76.56187683284459</cx:pt>
          <cx:pt idx="565">76.417595307917907</cx:pt>
          <cx:pt idx="566">76.392375366568942</cx:pt>
          <cx:pt idx="567">76.295014662756614</cx:pt>
          <cx:pt idx="568">76.296187683284472</cx:pt>
          <cx:pt idx="569">76.377126099706757</cx:pt>
          <cx:pt idx="570">76.354838709677438</cx:pt>
          <cx:pt idx="571">76.201173020527875</cx:pt>
          <cx:pt idx="572">76.351906158357792</cx:pt>
          <cx:pt idx="573">76.548973607038135</cx:pt>
          <cx:pt idx="574">76.333137829912033</cx:pt>
          <cx:pt idx="575">76.374780058651027</cx:pt>
          <cx:pt idx="576">76.350733137829906</cx:pt>
          <cx:pt idx="577">76.454545454545453</cx:pt>
          <cx:pt idx="578">76.398240469208204</cx:pt>
          <cx:pt idx="579">76.377126099706743</cx:pt>
          <cx:pt idx="580">76.229325513196471</cx:pt>
          <cx:pt idx="581">76.1642228739003</cx:pt>
          <cx:pt idx="582">76.080351906158356</cx:pt>
          <cx:pt idx="583">76.103812316715548</cx:pt>
          <cx:pt idx="584">76.066862170087973</cx:pt>
          <cx:pt idx="585">75.950146627565999</cx:pt>
          <cx:pt idx="586">75.998240469208227</cx:pt>
          <cx:pt idx="587">75.872727272727303</cx:pt>
          <cx:pt idx="588">75.715542521994138</cx:pt>
          <cx:pt idx="589">75.735483870967741</cx:pt>
          <cx:pt idx="590">75.890909090909091</cx:pt>
          <cx:pt idx="591">75.771847507331373</cx:pt>
          <cx:pt idx="592">75.680938416422265</cx:pt>
          <cx:pt idx="593">75.751906158357741</cx:pt>
          <cx:pt idx="594">75.91319648093841</cx:pt>
          <cx:pt idx="595">76.01935483870966</cx:pt>
          <cx:pt idx="596">76.154252199413477</cx:pt>
          <cx:pt idx="597">76.278592375366571</cx:pt>
          <cx:pt idx="598">76.384750733137821</cx:pt>
          <cx:pt idx="599">76.51847507331378</cx:pt>
          <cx:pt idx="600">76.449853372434021</cx:pt>
          <cx:pt idx="601">76.37888563049853</cx:pt>
          <cx:pt idx="602">76.629325513196477</cx:pt>
          <cx:pt idx="603">76.672727272727258</cx:pt>
          <cx:pt idx="604">76.685043988269783</cx:pt>
          <cx:pt idx="605">76.937243401759531</cx:pt>
          <cx:pt idx="606">77.114369501466285</cx:pt>
          <cx:pt idx="607">77.196480938416414</cx:pt>
          <cx:pt idx="608">77.233431085043975</cx:pt>
          <cx:pt idx="609">77.282111436950146</cx:pt>
          <cx:pt idx="610">77.451612903225794</cx:pt>
          <cx:pt idx="611">77.557771260997058</cx:pt>
          <cx:pt idx="612">77.635190615835782</cx:pt>
          <cx:pt idx="613">77.72668621700879</cx:pt>
          <cx:pt idx="614">77.814662756598239</cx:pt>
          <cx:pt idx="615">77.928445747800581</cx:pt>
          <cx:pt idx="616">77.949560117302056</cx:pt>
          <cx:pt idx="617">77.99120234604105</cx:pt>
          <cx:pt idx="618">78.154838709677421</cx:pt>
          <cx:pt idx="619">78.387683284457481</cx:pt>
          <cx:pt idx="620">78.329618768328444</cx:pt>
          <cx:pt idx="621">78.458064516129028</cx:pt>
          <cx:pt idx="622">78.596480938416406</cx:pt>
          <cx:pt idx="623">78.633431085043981</cx:pt>
          <cx:pt idx="624">78.831085043988253</cx:pt>
          <cx:pt idx="625">78.821114369501458</cx:pt>
          <cx:pt idx="626">78.826979472140764</cx:pt>
          <cx:pt idx="627">78.858651026392963</cx:pt>
          <cx:pt idx="628">78.840469208211161</cx:pt>
          <cx:pt idx="629">78.897947214076268</cx:pt>
          <cx:pt idx="630">78.925513196480964</cx:pt>
          <cx:pt idx="631">79.043401759530809</cx:pt>
          <cx:pt idx="632">79.129032258064527</cx:pt>
          <cx:pt idx="633">79.116715542522002</cx:pt>
          <cx:pt idx="634">79.154252199413492</cx:pt>
          <cx:pt idx="635">79.04398826979471</cx:pt>
          <cx:pt idx="636">79.035777126099703</cx:pt>
          <cx:pt idx="637">79.084457478005874</cx:pt>
          <cx:pt idx="638">79.108504398826994</cx:pt>
          <cx:pt idx="639">79.035777126099731</cx:pt>
          <cx:pt idx="640">79.082111436950171</cx:pt>
          <cx:pt idx="641">79.086217008797675</cx:pt>
          <cx:pt idx="642">79.177712609970669</cx:pt>
          <cx:pt idx="643">79.147800586510257</cx:pt>
          <cx:pt idx="644">79.19530791788857</cx:pt>
          <cx:pt idx="645">79.097947214076228</cx:pt>
          <cx:pt idx="646">78.965395894428156</cx:pt>
          <cx:pt idx="647">78.982991202346042</cx:pt>
          <cx:pt idx="648">79.034604105571859</cx:pt>
          <cx:pt idx="649">78.831671554252196</cx:pt>
          <cx:pt idx="650">78.667448680351896</cx:pt>
          <cx:pt idx="651">78.537829912023454</cx:pt>
          <cx:pt idx="652">78.429325513196488</cx:pt>
          <cx:pt idx="653">78.312609970674501</cx:pt>
          <cx:pt idx="654">78.271554252199437</cx:pt>
          <cx:pt idx="655">78.018181818181816</cx:pt>
          <cx:pt idx="656">78.04633431085044</cx:pt>
          <cx:pt idx="657">77.982404692082113</cx:pt>
          <cx:pt idx="658">77.968328445747801</cx:pt>
          <cx:pt idx="659">77.883870967741927</cx:pt>
          <cx:pt idx="660">77.676246334310861</cx:pt>
          <cx:pt idx="661">77.626392961876832</cx:pt>
          <cx:pt idx="662">77.6392961876833</cx:pt>
          <cx:pt idx="663">77.485630498533752</cx:pt>
          <cx:pt idx="664">77.421114369501467</cx:pt>
          <cx:pt idx="665">77.234604105571847</cx:pt>
          <cx:pt idx="666">77.123167155425222</cx:pt>
          <cx:pt idx="667">76.923167155425219</cx:pt>
          <cx:pt idx="668">76.649266862170094</cx:pt>
          <cx:pt idx="669">76.679178885630506</cx:pt>
          <cx:pt idx="670">76.752492668621713</cx:pt>
          <cx:pt idx="671">76.56129032258066</cx:pt>
          <cx:pt idx="672">76.302639296187678</cx:pt>
          <cx:pt idx="673">76.276246334310855</cx:pt>
          <cx:pt idx="674">76.148973607038116</cx:pt>
          <cx:pt idx="675">76.167155425219946</cx:pt>
          <cx:pt idx="676">76.22111436950145</cx:pt>
          <cx:pt idx="677">76.292082111436955</cx:pt>
          <cx:pt idx="678">76.30439882697948</cx:pt>
          <cx:pt idx="679">76.324926686217012</cx:pt>
          <cx:pt idx="680">76.464516129032262</cx:pt>
          <cx:pt idx="681">76.529618768328447</cx:pt>
          <cx:pt idx="682">76.611143695014661</cx:pt>
          <cx:pt idx="683">76.627565982404704</cx:pt>
          <cx:pt idx="684">76.643401759530803</cx:pt>
          <cx:pt idx="685">76.537829912023469</cx:pt>
          <cx:pt idx="686">76.615249266862165</cx:pt>
          <cx:pt idx="687">76.568328445747824</cx:pt>
          <cx:pt idx="688">76.523167155425227</cx:pt>
          <cx:pt idx="689">76.469794721407638</cx:pt>
          <cx:pt idx="690">76.568328445747809</cx:pt>
          <cx:pt idx="691">76.523167155425227</cx:pt>
          <cx:pt idx="692">76.410557184750743</cx:pt>
          <cx:pt idx="693">76.384164222873906</cx:pt>
          <cx:pt idx="694">76.419354838709666</cx:pt>
          <cx:pt idx="695">76.360117302052785</cx:pt>
          <cx:pt idx="696">76.322580645161281</cx:pt>
          <cx:pt idx="697">76.412903225806431</cx:pt>
          <cx:pt idx="698">76.412316715542516</cx:pt>
          <cx:pt idx="699">76.481524926686205</cx:pt>
          <cx:pt idx="700">76.33900293255131</cx:pt>
          <cx:pt idx="701">76.327859237536671</cx:pt>
          <cx:pt idx="702">76.387683284457481</cx:pt>
          <cx:pt idx="703">76.478592375366574</cx:pt>
          <cx:pt idx="704">76.461583577712616</cx:pt>
          <cx:pt idx="705">76.530205278592376</cx:pt>
          <cx:pt idx="706">76.469208211143695</cx:pt>
          <cx:pt idx="707">76.488563049853383</cx:pt>
          <cx:pt idx="708">76.51495601173022</cx:pt>
          <cx:pt idx="709">76.570087976539583</cx:pt>
          <cx:pt idx="710">76.49970674486805</cx:pt>
          <cx:pt idx="711">76.46041055718473</cx:pt>
          <cx:pt idx="712">76.458651026392971</cx:pt>
          <cx:pt idx="713">76.517302052785951</cx:pt>
          <cx:pt idx="714">76.534897360703823</cx:pt>
          <cx:pt idx="715">76.405278592375382</cx:pt>
          <cx:pt idx="716">76.533137829912022</cx:pt>
          <cx:pt idx="717">76.538416422287398</cx:pt>
          <cx:pt idx="718">76.50322580645161</cx:pt>
          <cx:pt idx="719">76.548973607038121</cx:pt>
          <cx:pt idx="720">76.591202346041058</cx:pt>
          <cx:pt idx="721">76.609970674486803</cx:pt>
          <cx:pt idx="722">76.823460410557189</cx:pt>
          <cx:pt idx="723">76.835777126099714</cx:pt>
          <cx:pt idx="724">76.928445747800595</cx:pt>
          <cx:pt idx="725">77.082697947214086</cx:pt>
          <cx:pt idx="726">76.964809384164241</cx:pt>
          <cx:pt idx="727">76.960117302052794</cx:pt>
          <cx:pt idx="728">76.977126099706737</cx:pt>
          <cx:pt idx="729">76.953079178885631</cx:pt>
          <cx:pt idx="730">77.09032258064515</cx:pt>
          <cx:pt idx="731">77.003519061583575</cx:pt>
          <cx:pt idx="732">77.032844574780043</cx:pt>
          <cx:pt idx="733">77.048680351906143</cx:pt>
          <cx:pt idx="734">77.097947214076228</cx:pt>
          <cx:pt idx="735">76.976539589442808</cx:pt>
          <cx:pt idx="736">77.051612903225816</cx:pt>
          <cx:pt idx="737">77.087976539589434</cx:pt>
          <cx:pt idx="738">77.049853372434001</cx:pt>
          <cx:pt idx="739">77.051612903225788</cx:pt>
          <cx:pt idx="740">77.015835777126085</cx:pt>
          <cx:pt idx="741">77.074486803519051</cx:pt>
          <cx:pt idx="742">76.968328445747787</cx:pt>
          <cx:pt idx="743">76.912609970674467</cx:pt>
          <cx:pt idx="744">76.858651026392948</cx:pt>
          <cx:pt idx="745">76.73958944281523</cx:pt>
          <cx:pt idx="746">76.865689149560097</cx:pt>
          <cx:pt idx="747">76.741348973607018</cx:pt>
          <cx:pt idx="748">76.76187683284455</cx:pt>
          <cx:pt idx="749">76.717302052785925</cx:pt>
          <cx:pt idx="750">76.719648093841641</cx:pt>
          <cx:pt idx="751">76.615835777126108</cx:pt>
          <cx:pt idx="752">76.568914956011739</cx:pt>
          <cx:pt idx="753">76.554252199413483</cx:pt>
          <cx:pt idx="754">76.654545454545456</cx:pt>
          <cx:pt idx="755">76.441642228739013</cx:pt>
          <cx:pt idx="756">76.312609970674487</cx:pt>
          <cx:pt idx="757">76.331378299120246</cx:pt>
          <cx:pt idx="758">76.353665689149565</cx:pt>
          <cx:pt idx="759">76.418768328445765</cx:pt>
          <cx:pt idx="760">76.51495601173022</cx:pt>
          <cx:pt idx="761">76.434017595307921</cx:pt>
          <cx:pt idx="762">76.531964809384178</cx:pt>
          <cx:pt idx="763">76.350146627565991</cx:pt>
          <cx:pt idx="764">76.377712609970672</cx:pt>
          <cx:pt idx="765">76.392375366568913</cx:pt>
          <cx:pt idx="766">76.356011730205282</cx:pt>
          <cx:pt idx="767">76.297947214076245</cx:pt>
          <cx:pt idx="768">76.268621700879777</cx:pt>
          <cx:pt idx="769">76.165982404692087</cx:pt>
          <cx:pt idx="770">76.2299120234604</cx:pt>
          <cx:pt idx="771">76.140175953079179</cx:pt>
          <cx:pt idx="772">76.01290322580644</cx:pt>
          <cx:pt idx="773">76.123167155425207</cx:pt>
          <cx:pt idx="774">76.176539589442811</cx:pt>
          <cx:pt idx="775">76.103225806451618</cx:pt>
          <cx:pt idx="776">76.123167155425236</cx:pt>
          <cx:pt idx="777">76.154838709677435</cx:pt>
          <cx:pt idx="778">76.246920821114387</cx:pt>
          <cx:pt idx="779">76.286217008797678</cx:pt>
          <cx:pt idx="780">76.238709677419351</cx:pt>
          <cx:pt idx="781">76.247507331378316</cx:pt>
          <cx:pt idx="782">76.319061583577721</cx:pt>
          <cx:pt idx="783">76.216422287390031</cx:pt>
          <cx:pt idx="784">76.015249266862185</cx:pt>
          <cx:pt idx="785">76.075073313783008</cx:pt>
          <cx:pt idx="786">76.223460410557223</cx:pt>
          <cx:pt idx="787">76.289149560117323</cx:pt>
          <cx:pt idx="788">76.265102639296202</cx:pt>
          <cx:pt idx="789">76.275659824046926</cx:pt>
          <cx:pt idx="790">76.312023460410558</cx:pt>
          <cx:pt idx="791">76.247507331378287</cx:pt>
          <cx:pt idx="792">76.23929618768328</cx:pt>
          <cx:pt idx="793">76.278592375366586</cx:pt>
          <cx:pt idx="794">76.292082111436955</cx:pt>
          <cx:pt idx="795">76.320821114369508</cx:pt>
          <cx:pt idx="796">76.191202346041052</cx:pt>
          <cx:pt idx="797">76.204105571847506</cx:pt>
          <cx:pt idx="798">76.22346041055718</cx:pt>
          <cx:pt idx="799">76.109677419354824</cx:pt>
          <cx:pt idx="800">76.240469208211124</cx:pt>
          <cx:pt idx="801">76.074486803519036</cx:pt>
          <cx:pt idx="802">76.195894428152471</cx:pt>
          <cx:pt idx="803">76.194721407624613</cx:pt>
          <cx:pt idx="804">76.131964809384158</cx:pt>
          <cx:pt idx="805">76.067448680351916</cx:pt>
          <cx:pt idx="806">76.15894428152491</cx:pt>
          <cx:pt idx="807">76.217008797653946</cx:pt>
          <cx:pt idx="808">76.082111436950115</cx:pt>
          <cx:pt idx="809">76.029912023460383</cx:pt>
          <cx:pt idx="810">75.99472140762461</cx:pt>
          <cx:pt idx="811">76.17829912023457</cx:pt>
          <cx:pt idx="812">76.157771260997038</cx:pt>
          <cx:pt idx="813">76.049853372434015</cx:pt>
          <cx:pt idx="814">76.189442815249251</cx:pt>
          <cx:pt idx="815">76.191788856304981</cx:pt>
          <cx:pt idx="816">76.122580645161293</cx:pt>
          <cx:pt idx="817">75.964809384164226</cx:pt>
          <cx:pt idx="818">75.849853372434026</cx:pt>
          <cx:pt idx="819">75.919061583577701</cx:pt>
          <cx:pt idx="820">76.033431085043986</cx:pt>
          <cx:pt idx="821">76.01290322580644</cx:pt>
          <cx:pt idx="822">76.107331378299108</cx:pt>
          <cx:pt idx="823">76.140175953079151</cx:pt>
          <cx:pt idx="824">76.028739002932554</cx:pt>
          <cx:pt idx="825">76.031671554252185</cx:pt>
          <cx:pt idx="826">76.022873900293263</cx:pt>
          <cx:pt idx="827">76.147214076246343</cx:pt>
          <cx:pt idx="828">76.206451612903237</cx:pt>
          <cx:pt idx="829">76.143108504398811</cx:pt>
          <cx:pt idx="830">76.180645161290315</cx:pt>
          <cx:pt idx="831">76.133137829912016</cx:pt>
          <cx:pt idx="832">76.218768328445719</cx:pt>
          <cx:pt idx="833">76.050439882697916</cx:pt>
          <cx:pt idx="834">76.018768328445717</cx:pt>
          <cx:pt idx="835">76.093255131964796</cx:pt>
          <cx:pt idx="836">76.000586510263915</cx:pt>
          <cx:pt idx="837">76.073313782991193</cx:pt>
          <cx:pt idx="838">75.914956011730197</cx:pt>
          <cx:pt idx="839">75.961876832844567</cx:pt>
          <cx:pt idx="840">76.113196480938413</cx:pt>
          <cx:pt idx="841">76.089736070381221</cx:pt>
          <cx:pt idx="842">76.049853372434015</cx:pt>
          <cx:pt idx="843">75.988856304985347</cx:pt>
          <cx:pt idx="844">76.01173020527861</cx:pt>
          <cx:pt idx="845">75.902639296187687</cx:pt>
          <cx:pt idx="846">75.922580645161304</cx:pt>
          <cx:pt idx="847">75.970674486803517</cx:pt>
          <cx:pt idx="848">76.109090909090895</cx:pt>
          <cx:pt idx="849">76.246920821114344</cx:pt>
          <cx:pt idx="850">76.327859237536643</cx:pt>
          <cx:pt idx="851">76.333724340175948</cx:pt>
          <cx:pt idx="852">76.346627565982388</cx:pt>
          <cx:pt idx="853">76.269794721407621</cx:pt>
          <cx:pt idx="854">76.320821114369494</cx:pt>
          <cx:pt idx="855">76.315542521994146</cx:pt>
          <cx:pt idx="856">76.482697947214078</cx:pt>
          <cx:pt idx="857">76.378299120234601</cx:pt>
          <cx:pt idx="858">76.304398826979465</cx:pt>
          <cx:pt idx="859">76.381231671554247</cx:pt>
          <cx:pt idx="860">76.52258064516127</cx:pt>
          <cx:pt idx="861">76.484457478005851</cx:pt>
          <cx:pt idx="862">76.550146627565951</cx:pt>
          <cx:pt idx="863">76.55366568914954</cx:pt>
          <cx:pt idx="864">76.523753665689142</cx:pt>
          <cx:pt idx="865">76.712609970674478</cx:pt>
          <cx:pt idx="866">76.751319648093869</cx:pt>
          <cx:pt idx="867">76.909090909090907</cx:pt>
          <cx:pt idx="868">76.923167155425219</cx:pt>
          <cx:pt idx="869">77.009384164222865</cx:pt>
          <cx:pt idx="870">77.101466275659803</cx:pt>
          <cx:pt idx="871">77.049266862170072</cx:pt>
          <cx:pt idx="872">76.995894428152482</cx:pt>
          <cx:pt idx="873">76.994721407624624</cx:pt>
          <cx:pt idx="874">77.038123167155419</cx:pt>
          <cx:pt idx="875">76.998240469208213</cx:pt>
          <cx:pt idx="876">76.990615835777135</cx:pt>
          <cx:pt idx="877">77.025219941348965</cx:pt>
          <cx:pt idx="878">76.946627565982411</cx:pt>
          <cx:pt idx="879">76.905571847507332</cx:pt>
          <cx:pt idx="880">76.953665689149545</cx:pt>
          <cx:pt idx="881">76.858651026392977</cx:pt>
          <cx:pt idx="882">76.770674486803529</cx:pt>
          <cx:pt idx="883">76.723753665689131</cx:pt>
          <cx:pt idx="884">76.843988269794735</cx:pt>
          <cx:pt idx="885">76.690322580645173</cx:pt>
          <cx:pt idx="886">76.844574780058664</cx:pt>
          <cx:pt idx="887">76.7542521994135</cx:pt>
          <cx:pt idx="888">76.789442815249274</cx:pt>
          <cx:pt idx="889">76.892082111436963</cx:pt>
          <cx:pt idx="890">76.836363636363643</cx:pt>
          <cx:pt idx="891">76.645161290322562</cx:pt>
          <cx:pt idx="892">76.714369501466265</cx:pt>
          <cx:pt idx="893">76.720234604105556</cx:pt>
          <cx:pt idx="894">76.658064516129016</cx:pt>
          <cx:pt idx="895">76.714956011730195</cx:pt>
          <cx:pt idx="896">76.60293255131964</cx:pt>
          <cx:pt idx="897">76.572434017595299</cx:pt>
          <cx:pt idx="898">76.601173020527852</cx:pt>
          <cx:pt idx="899">76.414076246334318</cx:pt>
          <cx:pt idx="900">76.37888563049853</cx:pt>
          <cx:pt idx="901">76.337243401759522</cx:pt>
          <cx:pt idx="902">76.256891495601195</cx:pt>
          <cx:pt idx="903">76.416422287390034</cx:pt>
          <cx:pt idx="904">76.357184750733154</cx:pt>
          <cx:pt idx="905">76.452785923753666</cx:pt>
          <cx:pt idx="906">76.455131964809397</cx:pt>
          <cx:pt idx="907">76.399413489736077</cx:pt>
          <cx:pt idx="908">76.515542521994135</cx:pt>
          <cx:pt idx="909">76.446920821114361</cx:pt>
          <cx:pt idx="910">76.433431085043978</cx:pt>
          <cx:pt idx="911">76.244574780058628</cx:pt>
          <cx:pt idx="912">76.306158357771238</cx:pt>
          <cx:pt idx="913">76.405278592375353</cx:pt>
          <cx:pt idx="914">76.311436950146614</cx:pt>
          <cx:pt idx="915">76.331964809384147</cx:pt>
          <cx:pt idx="916">76.389442815249254</cx:pt>
          <cx:pt idx="917">76.242228739002911</cx:pt>
          <cx:pt idx="918">76.243988269794698</cx:pt>
          <cx:pt idx="919">76.165395894428144</cx:pt>
          <cx:pt idx="920">76.039296187683291</cx:pt>
          <cx:pt idx="921">75.967155425219943</cx:pt>
          <cx:pt idx="922">76.143695014662754</cx:pt>
          <cx:pt idx="923">76.135483870967732</cx:pt>
          <cx:pt idx="924">76.012316715542511</cx:pt>
          <cx:pt idx="925">76.113196480938399</cx:pt>
          <cx:pt idx="926">76.265102639296188</cx:pt>
          <cx:pt idx="927">76.273900293255153</cx:pt>
          <cx:pt idx="928">76.30381231671555</cx:pt>
          <cx:pt idx="929">76.141935483870981</cx:pt>
          <cx:pt idx="930">76.202346041055705</cx:pt>
          <cx:pt idx="931">76.264516129032259</cx:pt>
          <cx:pt idx="932">76.187096774193535</cx:pt>
          <cx:pt idx="933">76.136656891495591</cx:pt>
          <cx:pt idx="934">76.022873900293234</cx:pt>
          <cx:pt idx="935">76.062756598240455</cx:pt>
          <cx:pt idx="936">75.853958944281516</cx:pt>
          <cx:pt idx="937">75.876246334310835</cx:pt>
          <cx:pt idx="938">76.035777126099688</cx:pt>
          <cx:pt idx="939">75.96011730205278</cx:pt>
          <cx:pt idx="940">75.99120234604105</cx:pt>
          <cx:pt idx="941">75.956011730205262</cx:pt>
          <cx:pt idx="942">76.021114369501447</cx:pt>
          <cx:pt idx="943">76.055131964809362</cx:pt>
          <cx:pt idx="944">75.987096774193517</cx:pt>
          <cx:pt idx="945">76.049853372433986</cx:pt>
          <cx:pt idx="946">76.058651026392951</cx:pt>
          <cx:pt idx="947">76.017008797653958</cx:pt>
          <cx:pt idx="948">76.094428152492668</cx:pt>
          <cx:pt idx="949">76.144281524926683</cx:pt>
          <cx:pt idx="950">76.311436950146643</cx:pt>
          <cx:pt idx="951">76.32903225806453</cx:pt>
          <cx:pt idx="952">76.415835777126105</cx:pt>
          <cx:pt idx="953">76.390029325513211</cx:pt>
          <cx:pt idx="954">76.297360703812345</cx:pt>
          <cx:pt idx="955">76.444574780058659</cx:pt>
          <cx:pt idx="956">76.368328445747807</cx:pt>
          <cx:pt idx="957">76.17067448680352</cx:pt>
          <cx:pt idx="958">76.228152492668613</cx:pt>
          <cx:pt idx="959">76.242815249266854</cx:pt>
          <cx:pt idx="960">76.241055718475067</cx:pt>
          <cx:pt idx="961">76.375953079178899</cx:pt>
          <cx:pt idx="962">76.270967741935493</cx:pt>
          <cx:pt idx="963">76.408211143695027</cx:pt>
          <cx:pt idx="964">76.527272727272745</cx:pt>
          <cx:pt idx="965">76.572434017595313</cx:pt>
          <cx:pt idx="966">76.466862170087978</cx:pt>
          <cx:pt idx="967">76.460410557184758</cx:pt>
          <cx:pt idx="968">76.593548387096774</cx:pt>
          <cx:pt idx="969">76.509090909090915</cx:pt>
          <cx:pt idx="970">76.554252199413497</cx:pt>
          <cx:pt idx="971">76.690909090909088</cx:pt>
          <cx:pt idx="972">76.703812316715542</cx:pt>
          <cx:pt idx="973">76.679765395894435</cx:pt>
          <cx:pt idx="974">76.738416422287386</cx:pt>
          <cx:pt idx="975">76.7049853372434</cx:pt>
          <cx:pt idx="976">76.662170087976548</cx:pt>
          <cx:pt idx="977">76.5741935483871</cx:pt>
          <cx:pt idx="978">76.591788856304987</cx:pt>
          <cx:pt idx="979">76.675659824046917</cx:pt>
          <cx:pt idx="980">76.675659824046932</cx:pt>
          <cx:pt idx="981">76.602932551319654</cx:pt>
          <cx:pt idx="982">76.562463343108504</cx:pt>
          <cx:pt idx="983">76.453958944281524</cx:pt>
          <cx:pt idx="984">76.399413489736062</cx:pt>
          <cx:pt idx="985">76.460997067448673</cx:pt>
          <cx:pt idx="986">76.292668621700884</cx:pt>
          <cx:pt idx="987">76.340762463343097</cx:pt>
          <cx:pt idx="988">76.517302052785908</cx:pt>
          <cx:pt idx="989">76.476832844574787</cx:pt>
          <cx:pt idx="990">76.287976539589451</cx:pt>
          <cx:pt idx="991">76.493255131964816</cx:pt>
          <cx:pt idx="992">76.354252199413494</cx:pt>
          <cx:pt idx="993">76.478592375366588</cx:pt>
          <cx:pt idx="994">76.458064516129028</cx:pt>
          <cx:pt idx="995">76.358357771260998</cx:pt>
          <cx:pt idx="996">76.243401759530784</cx:pt>
          <cx:pt idx="997">76.300293255131976</cx:pt>
          <cx:pt idx="998">76.429912023460403</cx:pt>
          <cx:pt idx="999">76.343695014662771</cx:pt>
          <cx:pt idx="1000">76.320821114369522</cx:pt>
          <cx:pt idx="1001">76.221114369501464</cx:pt>
          <cx:pt idx="1002">76.235190615835762</cx:pt>
          <cx:pt idx="1003">76.255131964809365</cx:pt>
          <cx:pt idx="1004">76.192375366568896</cx:pt>
          <cx:pt idx="1005">76.139589442815236</cx:pt>
          <cx:pt idx="1006">76.145454545454541</cx:pt>
          <cx:pt idx="1007">76.179472140762456</cx:pt>
          <cx:pt idx="1008">76.278005865102656</cx:pt>
          <cx:pt idx="1009">76.326686217008813</cx:pt>
          <cx:pt idx="1010">76.234604105571847</cx:pt>
          <cx:pt idx="1011">76.253958944281536</cx:pt>
          <cx:pt idx="1012">76.252199413489748</cx:pt>
          <cx:pt idx="1013">76.435777126099694</cx:pt>
          <cx:pt idx="1014">76.599413489736065</cx:pt>
          <cx:pt idx="1015">76.580058651026405</cx:pt>
          <cx:pt idx="1016">76.634604105571853</cx:pt>
          <cx:pt idx="1017">76.695601173020535</cx:pt>
          <cx:pt idx="1018">76.808211143695004</cx:pt>
          <cx:pt idx="1019">76.638123167155413</cx:pt>
          <cx:pt idx="1020">76.545454545454533</cx:pt>
          <cx:pt idx="1021">76.533137829912022</cx:pt>
          <cx:pt idx="1022">76.490909090909085</cx:pt>
          <cx:pt idx="1023">76.579472140762462</cx:pt>
          <cx:pt idx="1024">76.541935483870944</cx:pt>
          <cx:pt idx="1025">76.545454545454533</cx:pt>
          <cx:pt idx="1026">76.511436950146617</cx:pt>
          <cx:pt idx="1027">76.575366568914944</cx:pt>
          <cx:pt idx="1028">76.539589442815242</cx:pt>
          <cx:pt idx="1029">76.543695014662745</cx:pt>
          <cx:pt idx="1030">76.448093841642219</cx:pt>
          <cx:pt idx="1031">76.434017595307921</cx:pt>
          <cx:pt idx="1032">76.400586510263921</cx:pt>
          <cx:pt idx="1033">76.413489736070389</cx:pt>
          <cx:pt idx="1034">76.350146627565991</cx:pt>
          <cx:pt idx="1035">76.45102639296185</cx:pt>
          <cx:pt idx="1036">76.382991202346034</cx:pt>
          <cx:pt idx="1037">76.36363636363636</cx:pt>
          <cx:pt idx="1038">76.339589442815253</cx:pt>
          <cx:pt idx="1039">76.235777126099691</cx:pt>
          <cx:pt idx="1040">76.224633431085024</cx:pt>
          <cx:pt idx="1041">76.306744868035196</cx:pt>
          <cx:pt idx="1042">76.314369501466288</cx:pt>
          <cx:pt idx="1043">76.411143695014673</cx:pt>
          <cx:pt idx="1044">76.321407624633437</cx:pt>
          <cx:pt idx="1045">76.2950146627566</cx:pt>
          <cx:pt idx="1046">76.433431085043992</cx:pt>
          <cx:pt idx="1047">76.46568914956012</cx:pt>
          <cx:pt idx="1048">76.569501466275668</cx:pt>
          <cx:pt idx="1049">76.516129032258064</cx:pt>
          <cx:pt idx="1050">76.645161290322577</cx:pt>
          <cx:pt idx="1051">76.794134897360706</cx:pt>
          <cx:pt idx="1052">77.022287390029319</cx:pt>
          <cx:pt idx="1053">76.964222873900283</cx:pt>
          <cx:pt idx="1054">77.049266862170072</cx:pt>
          <cx:pt idx="1055">77.182404692082088</cx:pt>
          <cx:pt idx="1056">77.219941348973592</cx:pt>
          <cx:pt idx="1057">77.39472140762463</cx:pt>
          <cx:pt idx="1058">77.44105571847507</cx:pt>
          <cx:pt idx="1059">77.615249266862151</cx:pt>
          <cx:pt idx="1060">77.763049853372408</cx:pt>
          <cx:pt idx="1061">77.996480938416411</cx:pt>
          <cx:pt idx="1062">78.048093841642213</cx:pt>
          <cx:pt idx="1063">78.157184750733123</cx:pt>
          <cx:pt idx="1064">78.137829912023449</cx:pt>
          <cx:pt idx="1065">78.236950146627549</cx:pt>
          <cx:pt idx="1066">78.296187683284458</cx:pt>
          <cx:pt idx="1067">78.417595307917878</cx:pt>
          <cx:pt idx="1068">78.602932551319626</cx:pt>
          <cx:pt idx="1069">78.744281524926677</cx:pt>
          <cx:pt idx="1070">78.770674486803529</cx:pt>
          <cx:pt idx="1071">78.812316715542536</cx:pt>
          <cx:pt idx="1072">78.858064516129033</cx:pt>
          <cx:pt idx="1073">78.931964809384155</cx:pt>
          <cx:pt idx="1074">78.835190615835756</cx:pt>
          <cx:pt idx="1075">78.917888563049843</cx:pt>
          <cx:pt idx="1076">78.907331378299105</cx:pt>
          <cx:pt idx="1077">78.871554252199402</cx:pt>
          <cx:pt idx="1078">78.992375366568908</cx:pt>
          <cx:pt idx="1079">78.937829912023446</cx:pt>
          <cx:pt idx="1080">78.995307917888567</cx:pt>
          <cx:pt idx="1081">79.068035190615817</cx:pt>
          <cx:pt idx="1082">79.077419354838696</cx:pt>
          <cx:pt idx="1083">78.945454545454538</cx:pt>
          <cx:pt idx="1084">78.990029325513191</cx:pt>
          <cx:pt idx="1085">78.861583577712608</cx:pt>
          <cx:pt idx="1086">78.758357771260975</cx:pt>
          <cx:pt idx="1087">78.672727272727244</cx:pt>
          <cx:pt idx="1088">78.520821114369483</cx:pt>
          <cx:pt idx="1089">78.404692082111424</cx:pt>
          <cx:pt idx="1090">78.22756598240467</cx:pt>
          <cx:pt idx="1091">77.985923753665688</cx:pt>
          <cx:pt idx="1092">77.736656891495585</cx:pt>
          <cx:pt idx="1093">77.735483870967727</cx:pt>
          <cx:pt idx="1094">77.647507331378293</cx:pt>
          <cx:pt idx="1095">77.466862170087978</cx:pt>
          <cx:pt idx="1096">77.364222873900303</cx:pt>
          <cx:pt idx="1097">77.199999999999989</cx:pt>
          <cx:pt idx="1098">77.140762463343094</cx:pt>
          <cx:pt idx="1099">77.003519061583575</cx:pt>
          <cx:pt idx="1100">76.827565982404678</cx:pt>
          <cx:pt idx="1101">76.788856304985316</cx:pt>
          <cx:pt idx="1102">76.821114369501473</cx:pt>
          <cx:pt idx="1103">76.6715542521994</cx:pt>
          <cx:pt idx="1104">76.42815249266863</cx:pt>
          <cx:pt idx="1105">76.39061583577714</cx:pt>
          <cx:pt idx="1106">76.314956011730217</cx:pt>
          <cx:pt idx="1107">76.171847507331378</cx:pt>
          <cx:pt idx="1108">76.078005865102654</cx:pt>
          <cx:pt idx="1109">75.920234604105573</cx:pt>
          <cx:pt idx="1110">75.793548387096791</cx:pt>
          <cx:pt idx="1111">75.574780058651029</cx:pt>
          <cx:pt idx="1112">75.393548387096786</cx:pt>
          <cx:pt idx="1113">75.21759530791789</cx:pt>
          <cx:pt idx="1114">75.27565982404694</cx:pt>
          <cx:pt idx="1115">75.334310850439891</cx:pt>
          <cx:pt idx="1116">75.323167155425239</cx:pt>
          <cx:pt idx="1117">75.382404692082119</cx:pt>
          <cx:pt idx="1118">75.312023460410558</cx:pt>
          <cx:pt idx="1119">75.372434017595296</cx:pt>
          <cx:pt idx="1120">75.370087976539594</cx:pt>
          <cx:pt idx="1121">75.544281524926689</cx:pt>
          <cx:pt idx="1122">75.721994134897344</cx:pt>
          <cx:pt idx="1123">75.907331378299119</cx:pt>
          <cx:pt idx="1124">75.872727272727275</cx:pt>
          <cx:pt idx="1125">75.963636363636368</cx:pt>
          <cx:pt idx="1126">76.041055718475079</cx:pt>
          <cx:pt idx="1127">76.07741935483871</cx:pt>
          <cx:pt idx="1128">76.107917888563051</cx:pt>
          <cx:pt idx="1129">76.104398826979477</cx:pt>
          <cx:pt idx="1130">76.151906158357775</cx:pt>
          <cx:pt idx="1131">76.225806451612911</cx:pt>
          <cx:pt idx="1132">76.149560117302045</cx:pt>
          <cx:pt idx="1133">75.954252199413489</cx:pt>
          <cx:pt idx="1134">76.06217008797654</cx:pt>
          <cx:pt idx="1135">76.141935483870967</cx:pt>
          <cx:pt idx="1136">76.19941348973606</cx:pt>
          <cx:pt idx="1137">76.191788856304981</cx:pt>
          <cx:pt idx="1138">76.351319648093863</cx:pt>
          <cx:pt idx="1139">76.306158357771267</cx:pt>
          <cx:pt idx="1140">76.339589442815267</cx:pt>
          <cx:pt idx="1141">76.398240469208218</cx:pt>
          <cx:pt idx="1142">76.492668621700872</cx:pt>
          <cx:pt idx="1143">76.666862170087967</cx:pt>
          <cx:pt idx="1144">76.660410557184733</cx:pt>
          <cx:pt idx="1145">76.595307917888576</cx:pt>
          <cx:pt idx="1146">76.493255131964816</cx:pt>
          <cx:pt idx="1147">76.401173020527864</cx:pt>
          <cx:pt idx="1148">76.222287390029322</cx:pt>
          <cx:pt idx="1149">76.376539589442828</cx:pt>
          <cx:pt idx="1150">76.497947214076248</cx:pt>
          <cx:pt idx="1151">76.497360703812319</cx:pt>
          <cx:pt idx="1152">76.384750733137821</cx:pt>
          <cx:pt idx="1153">76.177126099706726</cx:pt>
          <cx:pt idx="1154">76</cx:pt>
          <cx:pt idx="1155">76.072140762463334</cx:pt>
          <cx:pt idx="1156">76.121407624633406</cx:pt>
          <cx:pt idx="1157">76.054545454545433</cx:pt>
          <cx:pt idx="1158">76.173020527859208</cx:pt>
          <cx:pt idx="1159">76.194134897360669</cx:pt>
          <cx:pt idx="1160">76.218181818181804</cx:pt>
          <cx:pt idx="1161">76.295601173020529</cx:pt>
          <cx:pt idx="1162">76.198240469208216</cx:pt>
          <cx:pt idx="1163">76.373020527859268</cx:pt>
          <cx:pt idx="1164">76.533724340175965</cx:pt>
          <cx:pt idx="1165">76.417008797653978</cx:pt>
          <cx:pt idx="1166">76.487976539589454</cx:pt>
          <cx:pt idx="1167">76.435190615835779</cx:pt>
          <cx:pt idx="1168">76.30029325513199</cx:pt>
          <cx:pt idx="1169">76.168328445747804</cx:pt>
          <cx:pt idx="1170">76.333724340175962</cx:pt>
          <cx:pt idx="1171">76.365395894428161</cx:pt>
          <cx:pt idx="1172">76.373020527859254</cx:pt>
          <cx:pt idx="1173">76.2950146627566</cx:pt>
          <cx:pt idx="1174">76.263343108504415</cx:pt>
          <cx:pt idx="1175">76.432258064516134</cx:pt>
          <cx:pt idx="1176">76.443401759530801</cx:pt>
          <cx:pt idx="1177">76.354838709677423</cx:pt>
          <cx:pt idx="1178">76.52785923753666</cx:pt>
          <cx:pt idx="1179">76.51847507331378</cx:pt>
          <cx:pt idx="1180">76.519648093841639</cx:pt>
          <cx:pt idx="1181">76.405278592375382</cx:pt>
          <cx:pt idx="1182">76.513196480938404</cx:pt>
          <cx:pt idx="1183">76.438123167155425</cx:pt>
          <cx:pt idx="1184">76.614662756598221</cx:pt>
          <cx:pt idx="1185">76.634604105571839</cx:pt>
          <cx:pt idx="1186">76.49677419354839</cx:pt>
          <cx:pt idx="1187">76.510263929618787</cx:pt>
          <cx:pt idx="1188">76.514369501466291</cx:pt>
          <cx:pt idx="1189">76.443988269794744</cx:pt>
          <cx:pt idx="1190">76.549560117302079</cx:pt>
          <cx:pt idx="1191">76.466862170088007</cx:pt>
          <cx:pt idx="1192">76.470381231671581</cx:pt>
          <cx:pt idx="1193">76.604692082111455</cx:pt>
          <cx:pt idx="1194">76.524340175953085</cx:pt>
          <cx:pt idx="1195">76.49970674486805</cx:pt>
          <cx:pt idx="1196">76.663929618768321</cx:pt>
          <cx:pt idx="1197">76.492082111436972</cx:pt>
          <cx:pt idx="1198">76.497360703812333</cx:pt>
          <cx:pt idx="1199">76.663929618768336</cx:pt>
          <cx:pt idx="1200">76.775366568914961</cx:pt>
          <cx:pt idx="1201">76.713782991202336</cx:pt>
          <cx:pt idx="1202">76.581231671554249</cx:pt>
          <cx:pt idx="1203">76.59999999999998</cx:pt>
          <cx:pt idx="1204">76.575366568914959</cx:pt>
          <cx:pt idx="1205">76.601759530791782</cx:pt>
          <cx:pt idx="1206">76.594721407624618</cx:pt>
          <cx:pt idx="1207">76.509090909090901</cx:pt>
          <cx:pt idx="1208">76.606451612903214</cx:pt>
          <cx:pt idx="1209">76.443988269794716</cx:pt>
          <cx:pt idx="1210">76.608797653958931</cx:pt>
          <cx:pt idx="1211">76.564222873900306</cx:pt>
          <cx:pt idx="1212">76.636950146627569</cx:pt>
          <cx:pt idx="1213">76.599999999999994</cx:pt>
          <cx:pt idx="1214">76.645747800586491</cx:pt>
          <cx:pt idx="1215">76.564809384164207</cx:pt>
          <cx:pt idx="1216">76.547800586510249</cx:pt>
          <cx:pt idx="1217">76.614662756598236</cx:pt>
          <cx:pt idx="1218">76.427565982404701</cx:pt>
          <cx:pt idx="1219">76.566568914956008</cx:pt>
          <cx:pt idx="1220">76.551319648093838</cx:pt>
          <cx:pt idx="1221">76.418181818181807</cx:pt>
          <cx:pt idx="1222">76.496774193548376</cx:pt>
          <cx:pt idx="1223">76.372434017595296</cx:pt>
          <cx:pt idx="1224">76.245161290322557</cx:pt>
          <cx:pt idx="1225">76.158944281524896</cx:pt>
          <cx:pt idx="1226">76.197067448680343</cx:pt>
          <cx:pt idx="1227">76.189442815249251</cx:pt>
          <cx:pt idx="1228">76.226979472140755</cx:pt>
          <cx:pt idx="1229">76.238123167155422</cx:pt>
          <cx:pt idx="1230">76.09677419354837</cx:pt>
          <cx:pt idx="1231">76.133137829912016</cx:pt>
          <cx:pt idx="1232">76.079178885630498</cx:pt>
          <cx:pt idx="1233">76.251612903225819</cx:pt>
          <cx:pt idx="1234">76.353079178885636</cx:pt>
          <cx:pt idx="1235">76.622873900293257</cx:pt>
          <cx:pt idx="1236">76.618181818181796</cx:pt>
          <cx:pt idx="1237">76.696774193548364</cx:pt>
          <cx:pt idx="1238">76.921407624633432</cx:pt>
          <cx:pt idx="1239">76.98826979472139</cx:pt>
          <cx:pt idx="1240">77.089736070381207</cx:pt>
          <cx:pt idx="1241">77.04398826979471</cx:pt>
          <cx:pt idx="1242">77.030498533724327</cx:pt>
          <cx:pt idx="1243">77.134310850439874</cx:pt>
          <cx:pt idx="1244">77.234017595307918</cx:pt>
          <cx:pt idx="1245">77.297947214076245</cx:pt>
          <cx:pt idx="1246">77.4258064516129</cx:pt>
          <cx:pt idx="1247">77.512609970674475</cx:pt>
          <cx:pt idx="1248">77.550733137829894</cx:pt>
          <cx:pt idx="1249">77.807038123167146</cx:pt>
          <cx:pt idx="1250">77.787096774193529</cx:pt>
          <cx:pt idx="1251">77.90674486803519</cx:pt>
          <cx:pt idx="1252">78.147214076246328</cx:pt>
          <cx:pt idx="1253">78.088563049853377</cx:pt>
          <cx:pt idx="1254">78.204105571847506</cx:pt>
          <cx:pt idx="1255">78.350733137829906</cx:pt>
          <cx:pt idx="1256">78.460410557184744</cx:pt>
          <cx:pt idx="1257">78.502639296187667</cx:pt>
          <cx:pt idx="1258">78.56539589442815</cx:pt>
          <cx:pt idx="1259">78.762463343108507</cx:pt>
          <cx:pt idx="1260">78.848680351906168</cx:pt>
          <cx:pt idx="1261">79.07096774193549</cx:pt>
          <cx:pt idx="1262">79.116129032258044</cx:pt>
          <cx:pt idx="1263">79.232258064516131</cx:pt>
          <cx:pt idx="1264">79.258064516129039</cx:pt>
          <cx:pt idx="1265">79.170087976539591</cx:pt>
          <cx:pt idx="1266">79.189442815249265</cx:pt>
          <cx:pt idx="1267">79.262756598240486</cx:pt>
          <cx:pt idx="1268">79.207038123167166</cx:pt>
          <cx:pt idx="1269">79.231085043988273</cx:pt>
          <cx:pt idx="1270">79.195307917888556</cx:pt>
          <cx:pt idx="1271">79.268621700879777</cx:pt>
          <cx:pt idx="1272">79.361290322580643</cx:pt>
          <cx:pt idx="1273">79.455131964809382</cx:pt>
          <cx:pt idx="1274">79.448680351906148</cx:pt>
          <cx:pt idx="1275">79.38181818181819</cx:pt>
          <cx:pt idx="1276">79.238709677419337</cx:pt>
          <cx:pt idx="1277">79.048093841642213</cx:pt>
          <cx:pt idx="1278">78.969501466275645</cx:pt>
          <cx:pt idx="1279">78.862170087976523</cx:pt>
          <cx:pt idx="1280">78.737829912023443</cx:pt>
          <cx:pt idx="1281">78.595307917888547</cx:pt>
          <cx:pt idx="1282">78.442815249266857</cx:pt>
          <cx:pt idx="1283">78.371260997067466</cx:pt>
          <cx:pt idx="1284">78.342521994134913</cx:pt>
          <cx:pt idx="1285">78.282697947214089</cx:pt>
          <cx:pt idx="1286">78.251026392961862</cx:pt>
          <cx:pt idx="1287">78.165982404692073</cx:pt>
          <cx:pt idx="1288">78.050439882697944</cx:pt>
          <cx:pt idx="1289">77.966568914956028</cx:pt>
          <cx:pt idx="1290">77.925513196480949</cx:pt>
          <cx:pt idx="1291">77.867448680351913</cx:pt>
          <cx:pt idx="1292">77.744281524926677</cx:pt>
          <cx:pt idx="1293">77.55601173020527</cx:pt>
          <cx:pt idx="1294">77.471554252199411</cx:pt>
          <cx:pt idx="1295">77.383577712609963</cx:pt>
          <cx:pt idx="1296">77.263929618768302</cx:pt>
          <cx:pt idx="1297">76.992961876832837</cx:pt>
          <cx:pt idx="1298">76.889736070381232</cx:pt>
          <cx:pt idx="1299">76.680938416422279</cx:pt>
          <cx:pt idx="1300">76.432258064516134</cx:pt>
          <cx:pt idx="1301">76.281524926686217</cx:pt>
          <cx:pt idx="1302">76.294428152492671</cx:pt>
          <cx:pt idx="1303">76.148973607038116</cx:pt>
          <cx:pt idx="1304">75.943108504398822</cx:pt>
          <cx:pt idx="1305">75.797653958944281</cx:pt>
          <cx:pt idx="1306">75.87859237536658</cx:pt>
          <cx:pt idx="1307">76.018768328445759</cx:pt>
          <cx:pt idx="1308">76.191202346041052</cx:pt>
          <cx:pt idx="1309">76.305571847507323</cx:pt>
          <cx:pt idx="1310">76.486217008797666</cx:pt>
          <cx:pt idx="1311">76.510263929618759</cx:pt>
          <cx:pt idx="1312">76.575953079178888</cx:pt>
          <cx:pt idx="1313">76.578885630498533</cx:pt>
          <cx:pt idx="1314">76.614076246334307</cx:pt>
          <cx:pt idx="1315">76.683870967741925</cx:pt>
          <cx:pt idx="1316">76.584164222873909</cx:pt>
          <cx:pt idx="1317">76.515542521994135</cx:pt>
          <cx:pt idx="1318">76.629912023460406</cx:pt>
          <cx:pt idx="1319">76.712023460410563</cx:pt>
          <cx:pt idx="1320">76.578885630498547</cx:pt>
          <cx:pt idx="1321">76.457478005865113</cx:pt>
          <cx:pt idx="1322">76.469208211143695</cx:pt>
          <cx:pt idx="1323">76.35073313782992</cx:pt>
          <cx:pt idx="1324">76.462756598240475</cx:pt>
          <cx:pt idx="1325">76.451026392961879</cx:pt>
          <cx:pt idx="1326">76.348973607038133</cx:pt>
          <cx:pt idx="1327">76.469794721407638</cx:pt>
          <cx:pt idx="1328">76.49032258064517</cx:pt>
          <cx:pt idx="1329">76.539002932551313</cx:pt>
          <cx:pt idx="1330">76.761876832844592</cx:pt>
          <cx:pt idx="1331">76.761290322580649</cx:pt>
          <cx:pt idx="1332">76.846334310850438</cx:pt>
          <cx:pt idx="1333">76.861583577712608</cx:pt>
          <cx:pt idx="1334">76.898533724340169</cx:pt>
          <cx:pt idx="1335">76.950146627565957</cx:pt>
          <cx:pt idx="1336">76.99706744868034</cx:pt>
          <cx:pt idx="1337">76.886803519061573</cx:pt>
          <cx:pt idx="1338">76.902639296187672</cx:pt>
          <cx:pt idx="1339">76.692668621700861</cx:pt>
          <cx:pt idx="1340">76.730791788856294</cx:pt>
          <cx:pt idx="1341">76.529032258064504</cx:pt>
          <cx:pt idx="1342">76.587683284457469</cx:pt>
          <cx:pt idx="1343">76.536070381231667</cx:pt>
          <cx:pt idx="1344">76.68035190615835</cx:pt>
          <cx:pt idx="1345">76.60293255131964</cx:pt>
          <cx:pt idx="1346">76.524340175953071</cx:pt>
          <cx:pt idx="1347">76.637536656891513</cx:pt>
          <cx:pt idx="1348">76.60175953079181</cx:pt>
          <cx:pt idx="1349">76.504398826979511</cx:pt>
          <cx:pt idx="1350">76.366568914956034</cx:pt>
          <cx:pt idx="1351">76.472140762463354</cx:pt>
          <cx:pt idx="1352">76.60293255131964</cx:pt>
          <cx:pt idx="1353">76.487976539589425</cx:pt>
          <cx:pt idx="1354">76.662170087976534</cx:pt>
          <cx:pt idx="1355">76.72668621700879</cx:pt>
          <cx:pt idx="1356">76.779472140762479</cx:pt>
          <cx:pt idx="1357">76.797067448680366</cx:pt>
          <cx:pt idx="1358">76.849266862170097</cx:pt>
          <cx:pt idx="1359">76.965982404692085</cx:pt>
          <cx:pt idx="1360">76.808797653958948</cx:pt>
          <cx:pt idx="1361">76.79824046920821</cx:pt>
          <cx:pt idx="1362">76.923753665689148</cx:pt>
          <cx:pt idx="1363">77.007624633431078</cx:pt>
          <cx:pt idx="1364">76.920234604105588</cx:pt>
          <cx:pt idx="1365">77.004105571847518</cx:pt>
          <cx:pt idx="1366">77.125513196480938</cx:pt>
          <cx:pt idx="1367">77.171847507331378</cx:pt>
          <cx:pt idx="1368">77.134897360703818</cx:pt>
          <cx:pt idx="1369">77.139002932551321</cx:pt>
          <cx:pt idx="1370">77.311436950146643</cx:pt>
          <cx:pt idx="1371">77.141935483870967</cx:pt>
          <cx:pt idx="1372">77.325513196480955</cx:pt>
          <cx:pt idx="1373">77.181818181818187</cx:pt>
          <cx:pt idx="1374">77.259237536656912</cx:pt>
          <cx:pt idx="1375">77.196480938416414</cx:pt>
          <cx:pt idx="1376">77.050439882697944</cx:pt>
          <cx:pt idx="1377">76.994134897360695</cx:pt>
          <cx:pt idx="1378">76.995894428152482</cx:pt>
          <cx:pt idx="1379">76.94721407624634</cx:pt>
          <cx:pt idx="1380">76.909090909090921</cx:pt>
          <cx:pt idx="1381">76.921994134897361</cx:pt>
          <cx:pt idx="1382">76.961290322580652</cx:pt>
          <cx:pt idx="1383">76.892668621700864</cx:pt>
          <cx:pt idx="1384">77.069794721407632</cx:pt>
          <cx:pt idx="1385">76.945454545454552</cx:pt>
          <cx:pt idx="1386">76.736656891495628</cx:pt>
          <cx:pt idx="1387">76.761290322580663</cx:pt>
          <cx:pt idx="1388">76.773020527859245</cx:pt>
          <cx:pt idx="1389">76.748387096774209</cx:pt>
          <cx:pt idx="1390">76.790615835777132</cx:pt>
          <cx:pt idx="1391">76.745454545454535</cx:pt>
          <cx:pt idx="1392">76.597653958944278</cx:pt>
          <cx:pt idx="1393">76.5407624633431</cx:pt>
          <cx:pt idx="1394">76.466862170087978</cx:pt>
          <cx:pt idx="1395">76.330791788856303</cx:pt>
          <cx:pt idx="1396">76.262756598240472</cx:pt>
          <cx:pt idx="1397">76.116129032258073</cx:pt>
          <cx:pt idx="1398">76.06862170087976</cx:pt>
          <cx:pt idx="1399">76.21173020527857</cx:pt>
          <cx:pt idx="1400">76.217008797653932</cx:pt>
          <cx:pt idx="1401">76.160117302052768</cx:pt>
          <cx:pt idx="1402">76.189442815249265</cx:pt>
          <cx:pt idx="1403">76.049853372434015</cx:pt>
          <cx:pt idx="1404">76.144868035190612</cx:pt>
          <cx:pt idx="1405">76.112023460410555</cx:pt>
          <cx:pt idx="1406">75.994721407624638</cx:pt>
          <cx:pt idx="1407">76.073900293255136</cx:pt>
          <cx:pt idx="1408">76.230498533724344</cx:pt>
          <cx:pt idx="1409">76.231085043988273</cx:pt>
          <cx:pt idx="1410">76.222873900293266</cx:pt>
          <cx:pt idx="1411">76.257478005865138</cx:pt>
          <cx:pt idx="1412">76.31319648093843</cx:pt>
          <cx:pt idx="1413">76.272140762463366</cx:pt>
          <cx:pt idx="1414">76.205278592375365</cx:pt>
          <cx:pt idx="1415">76.163636363636371</cx:pt>
          <cx:pt idx="1416">76.272140762463351</cx:pt>
          <cx:pt idx="1417">76.476246334310858</cx:pt>
          <cx:pt idx="1418">76.476832844574773</cx:pt>
          <cx:pt idx="1419">76.486803519061581</cx:pt>
          <cx:pt idx="1420">76.339589442815239</cx:pt>
          <cx:pt idx="1421">76.343108504398828</cx:pt>
          <cx:pt idx="1422">76.517888563049851</cx:pt>
          <cx:pt idx="1423">76.55249266862171</cx:pt>
          <cx:pt idx="1424">76.565982404692079</cx:pt>
          <cx:pt idx="1425">76.506744868035184</cx:pt>
          <cx:pt idx="1426">76.531964809384164</cx:pt>
          <cx:pt idx="1427">76.513782991202319</cx:pt>
          <cx:pt idx="1428">76.466275659824049</cx:pt>
          <cx:pt idx="1429">76.467448680351893</cx:pt>
          <cx:pt idx="1430">76.473313782991212</cx:pt>
          <cx:pt idx="1431">76.431671554252205</cx:pt>
          <cx:pt idx="1432">76.504985337243411</cx:pt>
          <cx:pt idx="1433">76.486803519061596</cx:pt>
          <cx:pt idx="1434">76.526099706744859</cx:pt>
          <cx:pt idx="1435">76.535483870967724</cx:pt>
          <cx:pt idx="1436">76.505571847507326</cx:pt>
          <cx:pt idx="1437">76.629325513196477</cx:pt>
          <cx:pt idx="1438">76.706744868035187</cx:pt>
          <cx:pt idx="1439">76.614076246334321</cx:pt>
          <cx:pt idx="1440">76.600000000000009</cx:pt>
          <cx:pt idx="1441">76.764809384164252</cx:pt>
          <cx:pt idx="1442">76.838123167155445</cx:pt>
          <cx:pt idx="1443">76.749560117302067</cx:pt>
          <cx:pt idx="1444">76.634604105571853</cx:pt>
          <cx:pt idx="1445">76.611143695014661</cx:pt>
          <cx:pt idx="1446">76.666862170087967</cx:pt>
          <cx:pt idx="1447">76.581818181818178</cx:pt>
          <cx:pt idx="1448">76.543695014662745</cx:pt>
          <cx:pt idx="1449">76.48797653958944</cx:pt>
          <cx:pt idx="1450">76.386510263929623</cx:pt>
          <cx:pt idx="1451">76.498533724340177</cx:pt>
          <cx:pt idx="1452">76.391202346041041</cx:pt>
          <cx:pt idx="1453">76.262756598240472</cx:pt>
          <cx:pt idx="1454">76.316129032258061</cx:pt>
          <cx:pt idx="1455">76.335483870967735</cx:pt>
          <cx:pt idx="1456">76.387096774193537</cx:pt>
          <cx:pt idx="1457">76.371847507331367</cx:pt>
          <cx:pt idx="1458">76.41642228739002</cx:pt>
          <cx:pt idx="1459">76.581231671554249</cx:pt>
          <cx:pt idx="1460">76.509090909090915</cx:pt>
          <cx:pt idx="1461">76.354252199413509</cx:pt>
          <cx:pt idx="1462">76.307917888563068</cx:pt>
          <cx:pt idx="1463">76.316129032258075</cx:pt>
          <cx:pt idx="1464">76.462170087976546</cx:pt>
          <cx:pt idx="1465">76.387683284457481</cx:pt>
          <cx:pt idx="1466">76.358357771261012</cx:pt>
          <cx:pt idx="1467">76.327272727272742</cx:pt>
          <cx:pt idx="1468">76.205278592375365</cx:pt>
          <cx:pt idx="1469">76.106158357771264</cx:pt>
          <cx:pt idx="1470">76.166568914956017</cx:pt>
          <cx:pt idx="1471">76.146627565982413</cx:pt>
          <cx:pt idx="1472">76.067448680351916</cx:pt>
          <cx:pt idx="1473">75.982404692082127</cx:pt>
          <cx:pt idx="1474">76.13607038123169</cx:pt>
          <cx:pt idx="1475">76.204105571847506</cx:pt>
          <cx:pt idx="1476">76.21466275659823</cx:pt>
          <cx:pt idx="1477">75.990029325513191</cx:pt>
          <cx:pt idx="1478">75.954252199413489</cx:pt>
          <cx:pt idx="1479">75.919648093841644</cx:pt>
          <cx:pt idx="1480">75.906158357771261</cx:pt>
          <cx:pt idx="1481">76.113782991202342</cx:pt>
          <cx:pt idx="1482">76</cx:pt>
          <cx:pt idx="1483">76.004692082111433</cx:pt>
          <cx:pt idx="1484">76.171260997067449</cx:pt>
          <cx:pt idx="1485">76.013489736070369</cx:pt>
          <cx:pt idx="1486">75.984750733137815</cx:pt>
          <cx:pt idx="1487">76.076246334310838</cx:pt>
          <cx:pt idx="1488">76.171260997067435</cx:pt>
          <cx:pt idx="1489">76.199999999999989</cx:pt>
          <cx:pt idx="1490">76.074486803519051</cx:pt>
          <cx:pt idx="1491">76.182991202346031</cx:pt>
          <cx:pt idx="1492">76.289149560117295</cx:pt>
          <cx:pt idx="1493">76.294428152492671</cx:pt>
          <cx:pt idx="1494">76.252785923753649</cx:pt>
          <cx:pt idx="1495">76.195894428152471</cx:pt>
          <cx:pt idx="1496">76.404105571847509</cx:pt>
          <cx:pt idx="1497">76.268035190615834</cx:pt>
          <cx:pt idx="1498">76.307331378299111</cx:pt>
          <cx:pt idx="1499">76.482697947214078</cx:pt>
          <cx:pt idx="1500">76.458651026392957</cx:pt>
          <cx:pt idx="1501">76.435777126099694</cx:pt>
          <cx:pt idx="1502">76.408797653958942</cx:pt>
          <cx:pt idx="1503">76.448680351906162</cx:pt>
          <cx:pt idx="1504">76.409384164222871</cx:pt>
          <cx:pt idx="1505">76.280351906158373</cx:pt>
          <cx:pt idx="1506">76.2299120234604</cx:pt>
          <cx:pt idx="1507">76.266862170087975</cx:pt>
          <cx:pt idx="1508">76.405278592375367</cx:pt>
          <cx:pt idx="1509">76.383577712609963</cx:pt>
          <cx:pt idx="1510">76.233431085043975</cx:pt>
          <cx:pt idx="1511">76.248093841642245</cx:pt>
          <cx:pt idx="1512">76.116129032258087</cx:pt>
          <cx:pt idx="1513">76.089149560117335</cx:pt>
          <cx:pt idx="1514">76.134897360703832</cx:pt>
          <cx:pt idx="1515">75.999413489736071</cx:pt>
          <cx:pt idx="1516">76.128445747800583</cx:pt>
          <cx:pt idx="1517">76.109677419354838</cx:pt>
          <cx:pt idx="1518">76.038709677419348</cx:pt>
          <cx:pt idx="1519">76.069208211143689</cx:pt>
          <cx:pt idx="1520">76.052199413489717</cx:pt>
          <cx:pt idx="1521">76.09032258064515</cx:pt>
          <cx:pt idx="1522">75.989442815249262</cx:pt>
          <cx:pt idx="1523">75.930205278592368</cx:pt>
          <cx:pt idx="1524">75.897947214076225</cx:pt>
          <cx:pt idx="1525">75.896774193548382</cx:pt>
          <cx:pt idx="1526">75.817595307917898</cx:pt>
          <cx:pt idx="1527">75.796480938416437</cx:pt>
          <cx:pt idx="1528">75.959530791788865</cx:pt>
          <cx:pt idx="1529">75.964222873900312</cx:pt>
          <cx:pt idx="1530">75.868035190615842</cx:pt>
          <cx:pt idx="1531">76.058651026392965</cx:pt>
          <cx:pt idx="1532">76.033431085044</cx:pt>
          <cx:pt idx="1533">76.051612903225816</cx:pt>
          <cx:pt idx="1534">76.061583577712625</cx:pt>
          <cx:pt idx="1535">76.080938416422299</cx:pt>
          <cx:pt idx="1536">76.079178885630512</cx:pt>
          <cx:pt idx="1537">76.169501466275676</cx:pt>
          <cx:pt idx="1538">76.286217008797678</cx:pt>
          <cx:pt idx="1539">76.231671554252202</cx:pt>
          <cx:pt idx="1540">76.286217008797664</cx:pt>
          <cx:pt idx="1541">76.363636363636374</cx:pt>
          <cx:pt idx="1542">76.288563049853366</cx:pt>
          <cx:pt idx="1543">76.41642228739002</cx:pt>
          <cx:pt idx="1544">76.616422287390009</cx:pt>
          <cx:pt idx="1545">76.685630498533712</cx:pt>
          <cx:pt idx="1546">76.780058651026394</cx:pt>
          <cx:pt idx="1547">76.824046920821118</cx:pt>
          <cx:pt idx="1548">76.802932551319657</cx:pt>
          <cx:pt idx="1549">76.715542521994124</cx:pt>
          <cx:pt idx="1550">76.688563049853357</cx:pt>
          <cx:pt idx="1551">76.687390029325513</cx:pt>
          <cx:pt idx="1552">76.757771260997075</cx:pt>
          <cx:pt idx="1553">76.849266862170097</cx:pt>
          <cx:pt idx="1554">76.812903225806465</cx:pt>
          <cx:pt idx="1555">76.812316715542522</cx:pt>
          <cx:pt idx="1556">76.734310850439883</cx:pt>
          <cx:pt idx="1557">76.872140762463346</cx:pt>
          <cx:pt idx="1558">76.779472140762479</cx:pt>
          <cx:pt idx="1559">76.797067448680352</cx:pt>
          <cx:pt idx="1560">76.829325513196494</cx:pt>
          <cx:pt idx="1561">76.796480938416437</cx:pt>
          <cx:pt idx="1562">76.778299120234621</cx:pt>
          <cx:pt idx="1563">76.812903225806451</cx:pt>
          <cx:pt idx="1564">76.723753665689145</cx:pt>
          <cx:pt idx="1565">76.636363636363626</cx:pt>
          <cx:pt idx="1566">76.693841642228733</cx:pt>
          <cx:pt idx="1567">76.82521994134899</cx:pt>
          <cx:pt idx="1568">76.718475073313783</cx:pt>
          <cx:pt idx="1569">76.525513196480944</cx:pt>
          <cx:pt idx="1570">76.651026392961896</cx:pt>
          <cx:pt idx="1571">76.588856304985342</cx:pt>
          <cx:pt idx="1572">76.727272727272734</cx:pt>
          <cx:pt idx="1573">76.7049853372434</cx:pt>
          <cx:pt idx="1574">76.643988269794733</cx:pt>
          <cx:pt idx="1575">76.446920821114389</cx:pt>
          <cx:pt idx="1576">76.405278592375367</cx:pt>
          <cx:pt idx="1577">76.290322580645167</cx:pt>
          <cx:pt idx="1578">76.327272727272728</cx:pt>
          <cx:pt idx="1579">76.289736070381238</cx:pt>
          <cx:pt idx="1580">76.260997067448685</cx:pt>
          <cx:pt idx="1581">76.15249266862169</cx:pt>
          <cx:pt idx="1582">76.197653958944272</cx:pt>
          <cx:pt idx="1583">76.1964809384164</cx:pt>
          <cx:pt idx="1584">76.008211143694993</cx:pt>
          <cx:pt idx="1585">75.967741935483872</cx:pt>
          <cx:pt idx="1586">75.97829912023461</cx:pt>
          <cx:pt idx="1587">75.938416422287375</cx:pt>
          <cx:pt idx="1588">75.967741935483858</cx:pt>
          <cx:pt idx="1589">76.075073313782966</cx:pt>
          <cx:pt idx="1590">76.105571847507292</cx:pt>
          <cx:pt idx="1591">76.110263929618739</cx:pt>
          <cx:pt idx="1592">76.134310850439874</cx:pt>
          <cx:pt idx="1593">75.992961876832851</cx:pt>
          <cx:pt idx="1594">76.068621700879774</cx:pt>
          <cx:pt idx="1595">76.024633431085064</cx:pt>
          <cx:pt idx="1596">76.062170087976554</cx:pt>
          <cx:pt idx="1597">76.127272727272739</cx:pt>
          <cx:pt idx="1598">76.12140762463342</cx:pt>
          <cx:pt idx="1599">76.276832844574784</cx:pt>
          <cx:pt idx="1600">76.247507331378316</cx:pt>
          <cx:pt idx="1601">76.182404692082102</cx:pt>
          <cx:pt idx="1602">76.237536656891493</cx:pt>
          <cx:pt idx="1603">76.239882697947195</cx:pt>
          <cx:pt idx="1604">76.238709677419322</cx:pt>
          <cx:pt idx="1605">76.125513196480924</cx:pt>
          <cx:pt idx="1606">76.146041055718456</cx:pt>
          <cx:pt idx="1607">76</cx:pt>
          <cx:pt idx="1608">76.070381231671547</cx:pt>
          <cx:pt idx="1609">75.89149560117302</cx:pt>
          <cx:pt idx="1610">76.053372434017575</cx:pt>
          <cx:pt idx="1611">76.091495601173023</cx:pt>
          <cx:pt idx="1612">76.319061583577707</cx:pt>
          <cx:pt idx="1613">76.153665689149548</cx:pt>
          <cx:pt idx="1614">76.1806451612903</cx:pt>
          <cx:pt idx="1615">76.327859237536643</cx:pt>
          <cx:pt idx="1616">76.412903225806431</cx:pt>
          <cx:pt idx="1617">76.528445747800561</cx:pt>
          <cx:pt idx="1618">76.687390029325485</cx:pt>
          <cx:pt idx="1619">76.694428152492648</cx:pt>
          <cx:pt idx="1620">76.671554252199385</cx:pt>
          <cx:pt idx="1621">76.586510263929611</cx:pt>
          <cx:pt idx="1622">76.68680351906157</cx:pt>
          <cx:pt idx="1623">76.707917888563045</cx:pt>
          <cx:pt idx="1624">76.852199413489743</cx:pt>
          <cx:pt idx="1625">76.730791788856294</cx:pt>
          <cx:pt idx="1626">76.750733137829926</cx:pt>
          <cx:pt idx="1627">76.72668621700879</cx:pt>
          <cx:pt idx="1628">76.649853372434023</cx:pt>
          <cx:pt idx="1629">76.586510263929625</cx:pt>
          <cx:pt idx="1630">76.575366568914959</cx:pt>
          <cx:pt idx="1631">76.748387096774209</cx:pt>
          <cx:pt idx="1632">76.7700879765396</cx:pt>
          <cx:pt idx="1633">76.843401759530821</cx:pt>
          <cx:pt idx="1634">76.835777126099728</cx:pt>
          <cx:pt idx="1635">76.974193548387106</cx:pt>
          <cx:pt idx="1636">77.084457478005874</cx:pt>
          <cx:pt idx="1637">77.115542521994158</cx:pt>
          <cx:pt idx="1638">77.256304985337266</cx:pt>
          <cx:pt idx="1639">77.291495601173025</cx:pt>
          <cx:pt idx="1640">77.348973607038133</cx:pt>
          <cx:pt idx="1641">77.187096774193549</cx:pt>
          <cx:pt idx="1642">77.291495601173025</cx:pt>
          <cx:pt idx="1643">77.084457478005874</cx:pt>
          <cx:pt idx="1644">77.187683284457492</cx:pt>
          <cx:pt idx="1645">77.020527859237546</cx:pt>
          <cx:pt idx="1646">76.945454545454567</cx:pt>
          <cx:pt idx="1647">76.959530791788865</cx:pt>
          <cx:pt idx="1648">76.848093841642239</cx:pt>
          <cx:pt idx="1649">76.854545454545459</cx:pt>
          <cx:pt idx="1650">76.779472140762479</cx:pt>
          <cx:pt idx="1651">76.779472140762479</cx:pt>
          <cx:pt idx="1652">76.738416422287415</cx:pt>
          <cx:pt idx="1653">76.707917888563045</cx:pt>
          <cx:pt idx="1654">76.686217008797627</cx:pt>
          <cx:pt idx="1655">76.69970674486801</cx:pt>
          <cx:pt idx="1656">76.670967741935456</cx:pt>
          <cx:pt idx="1657">76.843988269794721</cx:pt>
          <cx:pt idx="1658">76.809384164222863</cx:pt>
          <cx:pt idx="1659">76.867448680351913</cx:pt>
          <cx:pt idx="1660">76.908504398826992</cx:pt>
          <cx:pt idx="1661">76.919648093841658</cx:pt>
          <cx:pt idx="1662">76.840469208211175</cx:pt>
          <cx:pt idx="1663">76.767155425219968</cx:pt>
          <cx:pt idx="1664">76.741935483870989</cx:pt>
          <cx:pt idx="1665">76.717302052785925</cx:pt>
          <cx:pt idx="1666">76.62756598240469</cx:pt>
          <cx:pt idx="1667">76.507917888563043</cx:pt>
          <cx:pt idx="1668">76.526099706744859</cx:pt>
          <cx:pt idx="1669">76.486803519061581</cx:pt>
          <cx:pt idx="1670">76.407038123167155</cx:pt>
          <cx:pt idx="1671">76.380058651026403</cx:pt>
          <cx:pt idx="1672">76.490322580645156</cx:pt>
          <cx:pt idx="1673">76.343695014662771</cx:pt>
          <cx:pt idx="1674">76.44105571847507</cx:pt>
          <cx:pt idx="1675">76.354838709677423</cx:pt>
          <cx:pt idx="1676">76.494428152492674</cx:pt>
          <cx:pt idx="1677">76.448093841642233</cx:pt>
          <cx:pt idx="1678">76.519648093841639</cx:pt>
          <cx:pt idx="1679">76.612316715542519</cx:pt>
          <cx:pt idx="1680">76.621114369501456</cx:pt>
          <cx:pt idx="1681">76.530205278592362</cx:pt>
          <cx:pt idx="1682">76.500879765395894</cx:pt>
          <cx:pt idx="1683">76.495014662756603</cx:pt>
          <cx:pt idx="1684">76.557184750733143</cx:pt>
          <cx:pt idx="1685">76.659824046920818</cx:pt>
          <cx:pt idx="1686">76.494428152492674</cx:pt>
          <cx:pt idx="1687">76.632844574780066</cx:pt>
          <cx:pt idx="1688">76.445161290322588</cx:pt>
          <cx:pt idx="1689">76.602932551319654</cx:pt>
          <cx:pt idx="1690">76.557184750733143</cx:pt>
          <cx:pt idx="1691">76.494428152492659</cx:pt>
          <cx:pt idx="1692">76.500879765395894</cx:pt>
          <cx:pt idx="1693">76.41407624633429</cx:pt>
          <cx:pt idx="1694">76.356011730205282</cx:pt>
          <cx:pt idx="1695">76.254545454545436</cx:pt>
          <cx:pt idx="1696">76.212903225806443</cx:pt>
          <cx:pt idx="1697">76.176539589442811</cx:pt>
          <cx:pt idx="1698">76.234017595307918</cx:pt>
          <cx:pt idx="1699">76.442815249266857</cx:pt>
          <cx:pt idx="1700">76.450439882697935</cx:pt>
          <cx:pt idx="1701">76.495601173020532</cx:pt>
          <cx:pt idx="1702">76.683870967741925</cx:pt>
          <cx:pt idx="1703">76.784164222873898</cx:pt>
          <cx:pt idx="1704">76.998240469208199</cx:pt>
          <cx:pt idx="1705">77.116715542521973</cx:pt>
          <cx:pt idx="1706">77.181818181818159</cx:pt>
          <cx:pt idx="1707">77.295014662756586</cx:pt>
          <cx:pt idx="1708">77.499706744868021</cx:pt>
          <cx:pt idx="1709">77.594134897360703</cx:pt>
          <cx:pt idx="1710">77.556011730205284</cx:pt>
          <cx:pt idx="1711">77.619354838709683</cx:pt>
          <cx:pt idx="1712">77.830498533724338</cx:pt>
          <cx:pt idx="1713">77.919648093841644</cx:pt>
          <cx:pt idx="1714">77.991788856304993</cx:pt>
          <cx:pt idx="1715">77.921994134897375</cx:pt>
          <cx:pt idx="1716">77.866275659824055</cx:pt>
          <cx:pt idx="1717">78.044574780058653</cx:pt>
          <cx:pt idx="1718">78.059237536656894</cx:pt>
          <cx:pt idx="1719">78.242815249266854</cx:pt>
          <cx:pt idx="1720">78.299120234604118</cx:pt>
          <cx:pt idx="1721">78.354252199413494</cx:pt>
          <cx:pt idx="1722">78.546041055718476</cx:pt>
          <cx:pt idx="1723">78.48797653958944</cx:pt>
          <cx:pt idx="1724">78.739002932551315</cx:pt>
          <cx:pt idx="1725">78.91319648093841</cx:pt>
          <cx:pt idx="1726">79.167741935483861</cx:pt>
          <cx:pt idx="1727">79.290909090909082</cx:pt>
          <cx:pt idx="1728">79.473900293255127</cx:pt>
          <cx:pt idx="1729">79.570674486803512</cx:pt>
          <cx:pt idx="1730">79.55601173020527</cx:pt>
          <cx:pt idx="1731">79.572434017595327</cx:pt>
          <cx:pt idx="1732">79.620527859237555</cx:pt>
          <cx:pt idx="1733">79.488563049853397</cx:pt>
          <cx:pt idx="1734">79.475073313783</cx:pt>
          <cx:pt idx="1735">79.435777126099723</cx:pt>
          <cx:pt idx="1736">79.446920821114389</cx:pt>
          <cx:pt idx="1737">79.544281524926703</cx:pt>
          <cx:pt idx="1738">79.428739002932559</cx:pt>
          <cx:pt idx="1739">79.325513196480941</cx:pt>
          <cx:pt idx="1740">79.187683284457478</cx:pt>
          <cx:pt idx="1741">79.316129032258075</cx:pt>
          <cx:pt idx="1742">79.153665689149562</cx:pt>
          <cx:pt idx="1743">78.913196480938424</cx:pt>
          <cx:pt idx="1744">78.857478005865104</cx:pt>
          <cx:pt idx="1745">78.890909090909105</cx:pt>
          <cx:pt idx="1746">78.936070381231687</cx:pt>
          <cx:pt idx="1747">78.85630498533726</cx:pt>
          <cx:pt idx="1748">78.82580645161292</cx:pt>
          <cx:pt idx="1749">78.674486803519059</cx:pt>
          <cx:pt idx="1750">78.622873900293257</cx:pt>
          <cx:pt idx="1751">78.584164222873895</cx:pt>
          <cx:pt idx="1752">78.45689149560117</cx:pt>
          <cx:pt idx="1753">78.1800586510264</cx:pt>
          <cx:pt idx="1754">78.091495601173023</cx:pt>
          <cx:pt idx="1755">77.965982404692085</cx:pt>
          <cx:pt idx="1756">77.941348973607035</cx:pt>
          <cx:pt idx="1757">77.793548387096777</cx:pt>
          <cx:pt idx="1758">77.707917888563045</cx:pt>
          <cx:pt idx="1759">77.676246334310846</cx:pt>
          <cx:pt idx="1760">77.50967741935483</cx:pt>
          <cx:pt idx="1761">77.242228739002925</cx:pt>
          <cx:pt idx="1762">77.238709677419351</cx:pt>
          <cx:pt idx="1763">77.109677419354838</cx:pt>
          <cx:pt idx="1764">77.187096774193563</cx:pt>
          <cx:pt idx="1765">77.087976539589462</cx:pt>
          <cx:pt idx="1766">77.022873900293277</cx:pt>
          <cx:pt idx="1767">76.981231671554269</cx:pt>
          <cx:pt idx="1768">76.93782991202346</cx:pt>
          <cx:pt idx="1769">76.805865102639302</cx:pt>
          <cx:pt idx="1770">76.672727272727258</cx:pt>
          <cx:pt idx="1771">76.551906158357767</cx:pt>
          <cx:pt idx="1772">76.347214076246345</cx:pt>
          <cx:pt idx="1773">76.262170087976557</cx:pt>
          <cx:pt idx="1774">76.364222873900303</cx:pt>
          <cx:pt idx="1775">76.314956011730217</cx:pt>
          <cx:pt idx="1776">76.30439882697948</cx:pt>
          <cx:pt idx="1777">76.217595307917875</cx:pt>
          <cx:pt idx="1778">76.300293255131962</cx:pt>
          <cx:pt idx="1779">76.183577712609974</cx:pt>
          <cx:pt idx="1780">76.191202346041052</cx:pt>
          <cx:pt idx="1781">76.10850439882698</cx:pt>
          <cx:pt idx="1782">75.896187683284481</cx:pt>
          <cx:pt idx="1783">76.002346041055716</cx:pt>
          <cx:pt idx="1784">76.054545454545462</cx:pt>
          <cx:pt idx="1785">76.059237536656894</cx:pt>
          <cx:pt idx="1786">75.961876832844567</cx:pt>
          <cx:pt idx="1787">75.864516129032268</cx:pt>
          <cx:pt idx="1788">75.801173020527855</cx:pt>
          <cx:pt idx="1789">75.77595307917889</cx:pt>
          <cx:pt idx="1790">75.598240469208207</cx:pt>
          <cx:pt idx="1791">75.790029325513217</cx:pt>
          <cx:pt idx="1792">75.943695014662779</cx:pt>
          <cx:pt idx="1793">75.975953079178908</cx:pt>
          <cx:pt idx="1794">76.051612903225816</cx:pt>
          <cx:pt idx="1795">75.888563049853389</cx:pt>
          <cx:pt idx="1796">75.889149560117318</cx:pt>
          <cx:pt idx="1797">75.907917888563048</cx:pt>
          <cx:pt idx="1798">75.834604105571856</cx:pt>
          <cx:pt idx="1799">75.687390029325513</cx:pt>
          <cx:pt idx="1800">75.675073313782988</cx:pt>
          <cx:pt idx="1801">75.783577712609983</cx:pt>
          <cx:pt idx="1802">75.805865102639331</cx:pt>
          <cx:pt idx="1803">75.983577712609986</cx:pt>
          <cx:pt idx="1804">76.139002932551321</cx:pt>
          <cx:pt idx="1805">76.160117302052768</cx:pt>
          <cx:pt idx="1806">76.136656891495576</cx:pt>
          <cx:pt idx="1807">76.184164222873889</cx:pt>
          <cx:pt idx="1808">76.146627565982399</cx:pt>
          <cx:pt idx="1809">76.051026392961887</cx:pt>
          <cx:pt idx="1810">75.95894428152495</cx:pt>
          <cx:pt idx="1811">75.939002932551332</cx:pt>
          <cx:pt idx="1812">75.886803519061601</cx:pt>
          <cx:pt idx="1813">75.961876832844581</cx:pt>
          <cx:pt idx="1814">76.008797653958936</cx:pt>
          <cx:pt idx="1815">76.095014662756583</cx:pt>
          <cx:pt idx="1816">76.034017595307901</cx:pt>
          <cx:pt idx="1817">76.089149560117292</cx:pt>
          <cx:pt idx="1818">76.235190615835776</cx:pt>
          <cx:pt idx="1819">76.387683284457481</cx:pt>
          <cx:pt idx="1820">76.309090909090912</cx:pt>
          <cx:pt idx="1821">76.445747800586503</cx:pt>
          <cx:pt idx="1822">76.43225806451612</cx:pt>
          <cx:pt idx="1823">76.377712609970672</cx:pt>
          <cx:pt idx="1824">76.209384164222882</cx:pt>
          <cx:pt idx="1825">76.161290322580641</cx:pt>
          <cx:pt idx="1826">76.203519061583577</cx:pt>
          <cx:pt idx="1827">76.188856304985336</cx:pt>
          <cx:pt idx="1828">76.054545454545462</cx:pt>
          <cx:pt idx="1829">76.118475073313789</cx:pt>
          <cx:pt idx="1830">76.087976539589462</cx:pt>
          <cx:pt idx="1831">76.196480938416428</cx:pt>
          <cx:pt idx="1832">76.09325513196481</cx:pt>
          <cx:pt idx="1833">76.153665689149562</cx:pt>
          <cx:pt idx="1834">75.939589442815247</cx:pt>
          <cx:pt idx="1835">75.794134897360706</cx:pt>
          <cx:pt idx="1836">75.673900293255116</cx:pt>
          <cx:pt idx="1837">75.697360703812308</cx:pt>
          <cx:pt idx="1838">75.480351906158347</cx:pt>
          <cx:pt idx="1839">75.415249266862162</cx:pt>
          <cx:pt idx="1840">75.37536656891497</cx:pt>
          <cx:pt idx="1841">75.479178885630503</cx:pt>
          <cx:pt idx="1842">75.48739002932551</cx:pt>
          <cx:pt idx="1843">75.59648093841642</cx:pt>
          <cx:pt idx="1844">75.613489736070363</cx:pt>
          <cx:pt idx="1845">75.582991202346037</cx:pt>
          <cx:pt idx="1846">75.651612903225796</cx:pt>
          <cx:pt idx="1847">75.818768328445756</cx:pt>
          <cx:pt idx="1848">75.721994134897344</cx:pt>
          <cx:pt idx="1849">75.58709677419354</cx:pt>
          <cx:pt idx="1850">75.562463343108504</cx:pt>
          <cx:pt idx="1851">75.628152492668619</cx:pt>
          <cx:pt idx="1852">75.535483870967738</cx:pt>
          <cx:pt idx="1853">75.399413489736077</cx:pt>
          <cx:pt idx="1854">75.401759530791793</cx:pt>
          <cx:pt idx="1855">75.438709677419382</cx:pt>
          <cx:pt idx="1856">75.358944281524941</cx:pt>
          <cx:pt idx="1857">75.485043988269808</cx:pt>
          <cx:pt idx="1858">75.501466275659837</cx:pt>
          <cx:pt idx="1859">75.667448680351924</cx:pt>
          <cx:pt idx="1860">75.505571847507355</cx:pt>
          <cx:pt idx="1861">75.587683284457498</cx:pt>
          <cx:pt idx="1862">75.644574780058662</cx:pt>
          <cx:pt idx="1863">75.840469208211161</cx:pt>
          <cx:pt idx="1864">75.802932551319657</cx:pt>
          <cx:pt idx="1865">75.882111436950154</cx:pt>
          <cx:pt idx="1866">75.98064516129034</cx:pt>
          <cx:pt idx="1867">75.957771260997077</cx:pt>
          <cx:pt idx="1868">75.99882697947217</cx:pt>
          <cx:pt idx="1869">76.196480938416428</cx:pt>
          <cx:pt idx="1870">76.341935483870984</cx:pt>
          <cx:pt idx="1871">76.475073313783</cx:pt>
          <cx:pt idx="1872">76.506744868035199</cx:pt>
          <cx:pt idx="1873">76.661583577712605</cx:pt>
          <cx:pt idx="1874">76.689736070381215</cx:pt>
          <cx:pt idx="1875">76.652785923753655</cx:pt>
          <cx:pt idx="1876">76.683284457477995</cx:pt>
          <cx:pt idx="1877">76.584750733137824</cx:pt>
          <cx:pt idx="1878">76.582991202346037</cx:pt>
          <cx:pt idx="1879">76.691495601173017</cx:pt>
          <cx:pt idx="1880">76.641642228739002</cx:pt>
          <cx:pt idx="1881">76.495014662756589</cx:pt>
          <cx:pt idx="1882">76.416422287390034</cx:pt>
          <cx:pt idx="1883">76.39706744868036</cx:pt>
          <cx:pt idx="1884">76.394721407624644</cx:pt>
          <cx:pt idx="1885">76.400586510263935</cx:pt>
          <cx:pt idx="1886">76.363049853372445</cx:pt>
          <cx:pt idx="1887">76.521407624633426</cx:pt>
          <cx:pt idx="1888">76.52258064516127</cx:pt>
          <cx:pt idx="1889">76.570674486803512</cx:pt>
          <cx:pt idx="1890">76.527859237536646</cx:pt>
          <cx:pt idx="1891">76.678005865102634</cx:pt>
          <cx:pt idx="1892">76.778299120234607</cx:pt>
          <cx:pt idx="1893">76.764809384164224</cx:pt>
          <cx:pt idx="1894">76.758944281524933</cx:pt>
          <cx:pt idx="1895">76.976539589442808</cx:pt>
          <cx:pt idx="1896">77.024633431085036</cx:pt>
          <cx:pt idx="1897">77.029912023460398</cx:pt>
          <cx:pt idx="1898">77.240469208211138</cx:pt>
          <cx:pt idx="1899">77.327272727272742</cx:pt>
          <cx:pt idx="1900">77.330791788856317</cx:pt>
          <cx:pt idx="1901">77.402932551319637</cx:pt>
          <cx:pt idx="1902">77.452199413489737</cx:pt>
          <cx:pt idx="1903">77.497360703812319</cx:pt>
          <cx:pt idx="1904">77.427565982404673</cx:pt>
          <cx:pt idx="1905">77.571847507331356</cx:pt>
          <cx:pt idx="1906">77.692082111436946</cx:pt>
          <cx:pt idx="1907">77.700293255131953</cx:pt>
          <cx:pt idx="1908">77.873900293255133</cx:pt>
          <cx:pt idx="1909">77.913196480938424</cx:pt>
          <cx:pt idx="1910">78.076832844574781</cx:pt>
          <cx:pt idx="1911">78.309090909090912</cx:pt>
          <cx:pt idx="1912">78.540175953079185</cx:pt>
          <cx:pt idx="1913">78.647507331378293</cx:pt>
          <cx:pt idx="1914">78.695014662756591</cx:pt>
          <cx:pt idx="1915">78.827565982404678</cx:pt>
          <cx:pt idx="1916">79.008797653958922</cx:pt>
          <cx:pt idx="1917">79.164809384164201</cx:pt>
          <cx:pt idx="1918">79.278592375366557</cx:pt>
          <cx:pt idx="1919">79.252199413489706</cx:pt>
          <cx:pt idx="1920">79.312609970674472</cx:pt>
          <cx:pt idx="1921">79.46334310850439</cx:pt>
          <cx:pt idx="1922">79.446920821114361</cx:pt>
          <cx:pt idx="1923">79.541935483870972</cx:pt>
          <cx:pt idx="1924">79.493255131964816</cx:pt>
          <cx:pt idx="1925">79.475659824046929</cx:pt>
          <cx:pt idx="1926">79.436950146627581</cx:pt>
          <cx:pt idx="1927">79.550733137829923</cx:pt>
          <cx:pt idx="1928">79.649853372434038</cx:pt>
          <cx:pt idx="1929">79.601173020527852</cx:pt>
          <cx:pt idx="1930">79.439882697947212</cx:pt>
          <cx:pt idx="1931">79.337243401759537</cx:pt>
          <cx:pt idx="1932">79.193548387096783</cx:pt>
          <cx:pt idx="1933">79.193548387096769</cx:pt>
          <cx:pt idx="1934">79.009384164222894</cx:pt>
          <cx:pt idx="1935">79.072727272727292</cx:pt>
          <cx:pt idx="1936">78.892668621700892</cx:pt>
          <cx:pt idx="1937">78.770087976539585</cx:pt>
          <cx:pt idx="1938">78.612316715542505</cx:pt>
          <cx:pt idx="1939">78.411730205278587</cx:pt>
          <cx:pt idx="1940">78.295014662756586</cx:pt>
          <cx:pt idx="1941">78.167741935483861</cx:pt>
          <cx:pt idx="1942">78.110850439882682</cx:pt>
          <cx:pt idx="1943">77.848093841642211</cx:pt>
          <cx:pt idx="1944">77.817595307917856</cx:pt>
          <cx:pt idx="1945">77.845747800586494</cx:pt>
          <cx:pt idx="1946">77.797067448680338</cx:pt>
          <cx:pt idx="1947">77.534897360703809</cx:pt>
          <cx:pt idx="1948">77.387096774193552</cx:pt>
          <cx:pt idx="1949">77.123753665689151</cx:pt>
          <cx:pt idx="1950">77.170087976539577</cx:pt>
          <cx:pt idx="1951">77.056891495601178</cx:pt>
          <cx:pt idx="1952">76.955425219941347</cx:pt>
          <cx:pt idx="1953">76.813489736070366</cx:pt>
          <cx:pt idx="1954">76.57829912023459</cx:pt>
          <cx:pt idx="1955">76.668035190615811</cx:pt>
          <cx:pt idx="1956">76.603519061583555</cx:pt>
          <cx:pt idx="1957">76.585923753665668</cx:pt>
          <cx:pt idx="1958">76.476246334310844</cx:pt>
          <cx:pt idx="1959">76.367155425219948</cx:pt>
          <cx:pt idx="1960">76.396480938416431</cx:pt>
          <cx:pt idx="1961">76.316715542522005</cx:pt>
          <cx:pt idx="1962">76.240469208211138</cx:pt>
          <cx:pt idx="1963">76.262170087976557</cx:pt>
          <cx:pt idx="1964">76.217008797653961</cx:pt>
          <cx:pt idx="1965">76.215249266862173</cx:pt>
          <cx:pt idx="1966">76.209970674486812</cx:pt>
          <cx:pt idx="1967">76.128445747800598</cx:pt>
          <cx:pt idx="1968">76.285630498533749</cx:pt>
          <cx:pt idx="1969">76.358357771260998</cx:pt>
          <cx:pt idx="1970">76.409384164222871</cx:pt>
          <cx:pt idx="1971">76.329032258064515</cx:pt>
          <cx:pt idx="1972">76.225806451612883</cx:pt>
          <cx:pt idx="1973">76.015835777126085</cx:pt>
          <cx:pt idx="1974">76.107917888563037</cx:pt>
          <cx:pt idx="1975">76.004692082111433</cx:pt>
          <cx:pt idx="1976">75.912609970674495</cx:pt>
          <cx:pt idx="1977">75.87859237536658</cx:pt>
          <cx:pt idx="1978">75.936656891495616</cx:pt>
          <cx:pt idx="1979">76.069794721407632</cx:pt>
          <cx:pt idx="1980">76.144281524926697</cx:pt>
          <cx:pt idx="1981">76.018181818181816</cx:pt>
          <cx:pt idx="1982">76.00293255131966</cx:pt>
          <cx:pt idx="1983">75.964222873900297</cx:pt>
          <cx:pt idx="1984">76.156598240469208</cx:pt>
          <cx:pt idx="1985">76.290909090909111</cx:pt>
          <cx:pt idx="1986">76.146627565982413</cx:pt>
          <cx:pt idx="1987">76.090322580645164</cx:pt>
          <cx:pt idx="1988">76.064516129032256</cx:pt>
          <cx:pt idx="1989">76.087976539589448</cx:pt>
          <cx:pt idx="1990">76.039882697947192</cx:pt>
          <cx:pt idx="1991">76.026979472140752</cx:pt>
          <cx:pt idx="1992">76.008211143695007</cx:pt>
          <cx:pt idx="1993">75.977126099706751</cx:pt>
          <cx:pt idx="1994">76.017595307917887</cx:pt>
          <cx:pt idx="1995">75.927272727272722</cx:pt>
          <cx:pt idx="1996">75.933724340175957</cx:pt>
          <cx:pt idx="1997">75.779472140762465</cx:pt>
          <cx:pt idx="1998">75.787096774193543</cx:pt>
          <cx:pt idx="1999">75.64574780058652</cx:pt>
          <cx:pt idx="2000">75.573020527859242</cx:pt>
          <cx:pt idx="2001">75.595307917888576</cx:pt>
          <cx:pt idx="2002">75.613489736070377</cx:pt>
          <cx:pt idx="2003">75.794134897360692</cx:pt>
          <cx:pt idx="2004">75.825219941348976</cx:pt>
          <cx:pt idx="2005">75.858064516129033</cx:pt>
          <cx:pt idx="2006">75.902639296187687</cx:pt>
          <cx:pt idx="2007">75.878005865102651</cx:pt>
          <cx:pt idx="2008">75.829325513196494</cx:pt>
          <cx:pt idx="2009">75.858651026392977</cx:pt>
          <cx:pt idx="2010">75.808211143695019</cx:pt>
          <cx:pt idx="2011">75.724926686216989</cx:pt>
          <cx:pt idx="2012">75.717302052785911</cx:pt>
          <cx:pt idx="2013">75.643988269794718</cx:pt>
          <cx:pt idx="2014">75.531964809384164</cx:pt>
          <cx:pt idx="2015">75.421114369501481</cx:pt>
          <cx:pt idx="2016">75.427565982404701</cx:pt>
          <cx:pt idx="2017">75.382404692082119</cx:pt>
          <cx:pt idx="2018">75.425806451612914</cx:pt>
          <cx:pt idx="2019">75.343695014662771</cx:pt>
          <cx:pt idx="2020">75.189442815249265</cx:pt>
          <cx:pt idx="2021">75.30146627565982</cx:pt>
          <cx:pt idx="2022">75.249266862170074</cx:pt>
          <cx:pt idx="2023">75.390615835777126</cx:pt>
          <cx:pt idx="2024">75.575366568914959</cx:pt>
          <cx:pt idx="2025">75.563049853372419</cx:pt>
          <cx:pt idx="2026">75.587683284457469</cx:pt>
          <cx:pt idx="2027">75.697360703812308</cx:pt>
          <cx:pt idx="2028">75.6557184750733</cx:pt>
          <cx:pt idx="2029">75.7542521994135</cx:pt>
          <cx:pt idx="2030">75.898533724340169</cx:pt>
          <cx:pt idx="2031">75.904985337243389</cx:pt>
          <cx:pt idx="2032">75.873313782991175</cx:pt>
          <cx:pt idx="2033">75.967155425219914</cx:pt>
          <cx:pt idx="2034">75.91319648093841</cx:pt>
          <cx:pt idx="2035">75.943108504398822</cx:pt>
          <cx:pt idx="2036">75.805865102639302</cx:pt>
          <cx:pt idx="2037">75.946041055718467</cx:pt>
          <cx:pt idx="2038">76.103225806451604</cx:pt>
          <cx:pt idx="2039">76.202932551319634</cx:pt>
          <cx:pt idx="2040">76.136070381231661</cx:pt>
          <cx:pt idx="2041">76.160117302052782</cx:pt>
          <cx:pt idx="2042">76.315542521994132</cx:pt>
          <cx:pt idx="2043">76.429325513196488</cx:pt>
          <cx:pt idx="2044">76.391202346041069</cx:pt>
          <cx:pt idx="2045">76.393548387096786</cx:pt>
          <cx:pt idx="2046">76.385923753665708</cx:pt>
          <cx:pt idx="2047">76.212903225806457</cx:pt>
          <cx:pt idx="2048">76.417595307917892</cx:pt>
          <cx:pt idx="2049">76.484457478005865</cx:pt>
          <cx:pt idx="2050">76.580645161290292</cx:pt>
          <cx:pt idx="2051">76.794721407624621</cx:pt>
          <cx:pt idx="2052">76.778885630498536</cx:pt>
          <cx:pt idx="2053">76.738416422287372</cx:pt>
          <cx:pt idx="2054">76.795307917888564</cx:pt>
          <cx:pt idx="2055">76.784164222873898</cx:pt>
          <cx:pt idx="2056">76.794721407624635</cx:pt>
          <cx:pt idx="2057">76.907331378299119</cx:pt>
          <cx:pt idx="2058">76.948387096774198</cx:pt>
          <cx:pt idx="2059">77.012903225806454</cx:pt>
          <cx:pt idx="2060">77.035777126099703</cx:pt>
          <cx:pt idx="2061">76.846920821114367</cx:pt>
          <cx:pt idx="2062">77.008797653958936</cx:pt>
          <cx:pt idx="2063">77.039882697947206</cx:pt>
          <cx:pt idx="2064">77.125513196480924</cx:pt>
          <cx:pt idx="2065">77.130205278592356</cx:pt>
          <cx:pt idx="2066">77.129618768328427</cx:pt>
          <cx:pt idx="2067">77.2950146627566</cx:pt>
          <cx:pt idx="2068">77.148387096774186</cx:pt>
          <cx:pt idx="2069">77.187096774193549</cx:pt>
          <cx:pt idx="2070">77.113782991202356</cx:pt>
          <cx:pt idx="2071">77.075659824046909</cx:pt>
          <cx:pt idx="2072">77.048680351906171</cx:pt>
          <cx:pt idx="2073">77.05865102639298</cx:pt>
          <cx:pt idx="2074">77.060997067448682</cx:pt>
          <cx:pt idx="2075">77.209384164222868</cx:pt>
          <cx:pt idx="2076">77.317302052785934</cx:pt>
          <cx:pt idx="2077">77.273313782991195</cx:pt>
          <cx:pt idx="2078">77.48739002932551</cx:pt>
          <cx:pt idx="2079">77.465102639296177</cx:pt>
          <cx:pt idx="2080">77.517888563049851</cx:pt>
          <cx:pt idx="2081">77.513782991202348</cx:pt>
          <cx:pt idx="2082">77.330791788856317</cx:pt>
          <cx:pt idx="2083">77.176539589442825</cx:pt>
          <cx:pt idx="2084">77.240469208211138</cx:pt>
          <cx:pt idx="2085">77.054545454545448</cx:pt>
          <cx:pt idx="2086">76.980645161290326</cx:pt>
          <cx:pt idx="2087">76.977126099706737</cx:pt>
          <cx:pt idx="2088">76.861583577712594</cx:pt>
          <cx:pt idx="2089">76.897360703812296</cx:pt>
          <cx:pt idx="2090">77.059824046920824</cx:pt>
          <cx:pt idx="2091">76.968328445747801</cx:pt>
          <cx:pt idx="2092">77.026979472140752</cx:pt>
          <cx:pt idx="2093">76.943108504398822</cx:pt>
          <cx:pt idx="2094">76.902639296187672</cx:pt>
          <cx:pt idx="2095">76.795894428152508</cx:pt>
          <cx:pt idx="2096">76.836363636363657</cx:pt>
          <cx:pt idx="2097">76.858651026392977</cx:pt>
          <cx:pt idx="2098">76.693255131964804</cx:pt>
          <cx:pt idx="2099">76.794721407624635</cx:pt>
          <cx:pt idx="2100">76.688563049853357</cx:pt>
          <cx:pt idx="2101">76.76832844574777</cx:pt>
          <cx:pt idx="2102">76.826979472140764</cx:pt>
          <cx:pt idx="2103">76.805865102639288</cx:pt>
          <cx:pt idx="2104">76.751319648093826</cx:pt>
          <cx:pt idx="2105">76.602932551319626</cx:pt>
          <cx:pt idx="2106">76.610557184750718</cx:pt>
          <cx:pt idx="2107">76.523753665689128</cx:pt>
          <cx:pt idx="2108">76.568328445747781</cx:pt>
          <cx:pt idx="2109">76.52903225806449</cx:pt>
          <cx:pt idx="2110">76.442228739002928</cx:pt>
          <cx:pt idx="2111">76.436950146627566</cx:pt>
          <cx:pt idx="2112">76.35073313782992</cx:pt>
          <cx:pt idx="2113">76.519648093841653</cx:pt>
          <cx:pt idx="2114">76.693841642228733</cx:pt>
          <cx:pt idx="2115">76.544281524926689</cx:pt>
          <cx:pt idx="2116">76.594721407624633</cx:pt>
          <cx:pt idx="2117">76.679765395894421</cx:pt>
          <cx:pt idx="2118">76.619941348973597</cx:pt>
          <cx:pt idx="2119">76.65865102639296</cx:pt>
          <cx:pt idx="2120">76.563636363636363</cx:pt>
          <cx:pt idx="2121">76.45689149560117</cx:pt>
          <cx:pt idx="2122">76.511436950146631</cx:pt>
          <cx:pt idx="2123">76.638123167155427</cx:pt>
          <cx:pt idx="2124">76.597067448680363</cx:pt>
          <cx:pt idx="2125">76.636363636363654</cx:pt>
          <cx:pt idx="2126">76.748973607038153</cx:pt>
          <cx:pt idx="2127">76.652785923753683</cx:pt>
          <cx:pt idx="2128">76.609384164222902</cx:pt>
          <cx:pt idx="2129">76.824633431085076</cx:pt>
          <cx:pt idx="2130">76.782991202346068</cx:pt>
          <cx:pt idx="2131">76.736656891495599</cx:pt>
          <cx:pt idx="2132">76.646920821114378</cx:pt>
          <cx:pt idx="2133">76.67390029325513</cx:pt>
          <cx:pt idx="2134">76.725513196480932</cx:pt>
          <cx:pt idx="2135">76.753665689149571</cx:pt>
          <cx:pt idx="2136">76.724340175953074</cx:pt>
          <cx:pt idx="2137">76.757771260997089</cx:pt>
          <cx:pt idx="2138">76.879765395894424</cx:pt>
          <cx:pt idx="2139">76.832258064516125</cx:pt>
          <cx:pt idx="2140">76.678592375366577</cx:pt>
          <cx:pt idx="2141">76.594134897360689</cx:pt>
          <cx:pt idx="2142">76.558357771261001</cx:pt>
          <cx:pt idx="2143">76.646334310850435</cx:pt>
          <cx:pt idx="2144">76.60293255131964</cx:pt>
          <cx:pt idx="2145">76.506158357771255</cx:pt>
          <cx:pt idx="2146">76.711436950146634</cx:pt>
          <cx:pt idx="2147">76.661583577712605</cx:pt>
          <cx:pt idx="2148">76.560703812316717</cx:pt>
          <cx:pt idx="2149">76.715542521994138</cx:pt>
          <cx:pt idx="2150">76.700293255131967</cx:pt>
          <cx:pt idx="2151">76.727859237536649</cx:pt>
          <cx:pt idx="2152">76.659824046920818</cx:pt>
          <cx:pt idx="2153">76.759530791788862</cx:pt>
          <cx:pt idx="2154">76.743108504398819</cx:pt>
          <cx:pt idx="2155">76.886803519061601</cx:pt>
          <cx:pt idx="2156">76.837536656891515</cx:pt>
          <cx:pt idx="2157">76.734310850439883</cx:pt>
          <cx:pt idx="2158">76.709677419354819</cx:pt>
          <cx:pt idx="2159">76.863343108504395</cx:pt>
          <cx:pt idx="2160">76.808797653958933</cx:pt>
          <cx:pt idx="2161">76.734310850439854</cx:pt>
          <cx:pt idx="2162">76.697947214076223</cx:pt>
          <cx:pt idx="2163">76.860997067448665</cx:pt>
          <cx:pt idx="2164">76.883284457478013</cx:pt>
          <cx:pt idx="2165">76.832844574780054</cx:pt>
          <cx:pt idx="2166">76.730791788856294</cx:pt>
          <cx:pt idx="2167">76.738416422287386</cx:pt>
          <cx:pt idx="2168">76.680938416422293</cx:pt>
          <cx:pt idx="2169">76.663343108504392</cx:pt>
          <cx:pt idx="2170">76.832844574780069</cx:pt>
          <cx:pt idx="2171">77.001173020527858</cx:pt>
          <cx:pt idx="2172">77.144868035190584</cx:pt>
          <cx:pt idx="2173">77.043401759530767</cx:pt>
          <cx:pt idx="2174">76.892668621700878</cx:pt>
          <cx:pt idx="2175">76.944281524926694</cx:pt>
          <cx:pt idx="2176">77.053372434017589</cx:pt>
          <cx:pt idx="2177">77.0656891495601</cx:pt>
          <cx:pt idx="2178">77.168914956011719</cx:pt>
          <cx:pt idx="2179">77.199999999999989</cx:pt>
          <cx:pt idx="2180">77.062756598240455</cx:pt>
          <cx:pt idx="2181">76.991202346041035</cx:pt>
          <cx:pt idx="2182">76.880938416422254</cx:pt>
          <cx:pt idx="2183">77.032844574780029</cx:pt>
          <cx:pt idx="2184">76.879765395894424</cx:pt>
          <cx:pt idx="2185">76.713782991202322</cx:pt>
          <cx:pt idx="2186">76.629912023460406</cx:pt>
          <cx:pt idx="2187">76.642815249266846</cx:pt>
          <cx:pt idx="2188">76.563636363636348</cx:pt>
          <cx:pt idx="2189">76.471554252199411</cx:pt>
          <cx:pt idx="2190">76.469208211143695</cx:pt>
          <cx:pt idx="2191">76.43870967741934</cx:pt>
          <cx:pt idx="2192">76.577126099706746</cx:pt>
          <cx:pt idx="2193">76.750733137829926</cx:pt>
          <cx:pt idx="2194">76.728445747800592</cx:pt>
          <cx:pt idx="2195">76.680938416422308</cx:pt>
          <cx:pt idx="2196">76.71671554252201</cx:pt>
          <cx:pt idx="2197">76.85630498533726</cx:pt>
          <cx:pt idx="2198">76.960703812316723</cx:pt>
          <cx:pt idx="2199">76.93782991202346</cx:pt>
          <cx:pt idx="2200">76.844574780058636</cx:pt>
          <cx:pt idx="2201">76.855131964809388</cx:pt>
          <cx:pt idx="2202">76.855718475073317</cx:pt>
          <cx:pt idx="2203">76.876832844574793</cx:pt>
          <cx:pt idx="2204">76.790615835777132</cx:pt>
          <cx:pt idx="2205">76.921994134897346</cx:pt>
          <cx:pt idx="2206">76.753079178885613</cx:pt>
          <cx:pt idx="2207">76.605865102639271</cx:pt>
          <cx:pt idx="2208">76.536070381231653</cx:pt>
          <cx:pt idx="2209">76.479765395894418</cx:pt>
          <cx:pt idx="2210">76.390029325513197</cx:pt>
          <cx:pt idx="2211">76.47859237536656</cx:pt>
          <cx:pt idx="2212">76.555425219941341</cx:pt>
          <cx:pt idx="2213">76.587683284457455</cx:pt>
          <cx:pt idx="2214">76.470381231671539</cx:pt>
          <cx:pt idx="2215">76.625219941348945</cx:pt>
          <cx:pt idx="2216">76.715542521994109</cx:pt>
          <cx:pt idx="2217">76.573607038123157</cx:pt>
          <cx:pt idx="2218">76.648680351906151</cx:pt>
          <cx:pt idx="2219">76.741348973607032</cx:pt>
          <cx:pt idx="2220">76.795894428152508</cx:pt>
          <cx:pt idx="2221">76.730791788856294</cx:pt>
          <cx:pt idx="2222">76.691495601173003</cx:pt>
          <cx:pt idx="2223">76.273900293255124</cx:pt>
          <cx:pt idx="2224">76.299120234604089</cx:pt>
          <cx:pt idx="2225">76.018768328445731</cx:pt>
          <cx:pt idx="2226">76.260410557184727</cx:pt>
          <cx:pt idx="2227">76.148973607038116</cx:pt>
          <cx:pt idx="2228">76.053958944281504</cx:pt>
          <cx:pt idx="2229">76.188856304985322</cx:pt>
          <cx:pt idx="2230">76.368914956011736</cx:pt>
          <cx:pt idx="2231">76.336070381231664</cx:pt>
          <cx:pt idx="2232">76.009970674486794</cx:pt>
          <cx:pt idx="2233">75.556011730205284</cx:pt>
          <cx:pt idx="2234">75.170087976539591</cx:pt>
          <cx:pt idx="2235">75.484457478005865</cx:pt>
          <cx:pt idx="2236">75.366568914956019</cx:pt>
          <cx:pt idx="2237">75.5407624633431</cx:pt>
          <cx:pt idx="2238">75.50674486803517</cx:pt>
          <cx:pt idx="2239">75.195307917888542</cx:pt>
          <cx:pt idx="2240">74.898533724340169</cx:pt>
          <cx:pt idx="2241">74.931378299120212</cx:pt>
          <cx:pt idx="2242">74.591788856304973</cx:pt>
          <cx:pt idx="2243">74.828739002932551</cx:pt>
          <cx:pt idx="2244">74.699120234604095</cx:pt>
          <cx:pt idx="2245">74.920821114369488</cx:pt>
          <cx:pt idx="2246">74.408211143694999</cx:pt>
          <cx:pt idx="2247">73.992961876832837</cx:pt>
          <cx:pt idx="2248">73.845161290322565</cx:pt>
          <cx:pt idx="2249">73.388269794721396</cx:pt>
          <cx:pt idx="2250">73.309677419354841</cx:pt>
          <cx:pt idx="2251">73.045161290322568</cx:pt>
          <cx:pt idx="2252">72.618768328445768</cx:pt>
          <cx:pt idx="2253">37.215835777126102</cx:pt>
          <cx:pt idx="2254">39.626392961876839</cx:pt>
          <cx:pt idx="2255">42.114369501466278</cx:pt>
          <cx:pt idx="2256">44.536656891495603</cx:pt>
          <cx:pt idx="2257">46.955425219941354</cx:pt>
          <cx:pt idx="2258">49.424633431085049</cx:pt>
          <cx:pt idx="2259">51.81348973607038</cx:pt>
          <cx:pt idx="2260">54.250439882697947</cx:pt>
          <cx:pt idx="2261">56.733137829912025</cx:pt>
          <cx:pt idx="2262">59.251612903225805</cx:pt>
          <cx:pt idx="2263">61.616422287390023</cx:pt>
          <cx:pt idx="2264">63.994134897360702</cx:pt>
          <cx:pt idx="2265">66.345454545454544</cx:pt>
          <cx:pt idx="2266">68.769501466275656</cx:pt>
          <cx:pt idx="2267">71.2791788856305</cx:pt>
          <cx:pt idx="2268">73.785337243401756</cx:pt>
          <cx:pt idx="2269">76.276246334310841</cx:pt>
          <cx:pt idx="2270">76.275659824046926</cx:pt>
          <cx:pt idx="2271">76.168914956011704</cx:pt>
          <cx:pt idx="2272">76.138416422287378</cx:pt>
          <cx:pt idx="2273">76.171847507331364</cx:pt>
          <cx:pt idx="2274">76.197653958944258</cx:pt>
          <cx:pt idx="2275">76.370674486803523</cx:pt>
          <cx:pt idx="2276">76.30439882697948</cx:pt>
          <cx:pt idx="2277">76.4592375366569</cx:pt>
          <cx:pt idx="2278">76.59882697947215</cx:pt>
          <cx:pt idx="2279">76.646334310850449</cx:pt>
          <cx:pt idx="2280">76.70791788856306</cx:pt>
          <cx:pt idx="2281">76.672727272727286</cx:pt>
          <cx:pt idx="2282">76.546627565982419</cx:pt>
          <cx:pt idx="2283">76.388856304985353</cx:pt>
          <cx:pt idx="2284">76.338416422287409</cx:pt>
          <cx:pt idx="2285">76.329618768328473</cx:pt>
          <cx:pt idx="2286">76.411143695014673</cx:pt>
          <cx:pt idx="2287">76.344281524926714</cx:pt>
          <cx:pt idx="2288">76.283870967741933</cx:pt>
          <cx:pt idx="2289">76.278005865102642</cx:pt>
          <cx:pt idx="2290">76.250439882697933</cx:pt>
          <cx:pt idx="2291">76.330205278592388</cx:pt>
          <cx:pt idx="2292">76.214076246334315</cx:pt>
          <cx:pt idx="2293">76.113782991202342</cx:pt>
          <cx:pt idx="2294">76.28856304985338</cx:pt>
          <cx:pt idx="2295">76.353665689149551</cx:pt>
          <cx:pt idx="2296">76.358944281524913</cx:pt>
          <cx:pt idx="2297">76.374780058651012</cx:pt>
          <cx:pt idx="2298">76.3607038123167</cx:pt>
          <cx:pt idx="2299">76.374780058651027</cx:pt>
          <cx:pt idx="2300">76.405278592375353</cx:pt>
          <cx:pt idx="2301">76.418768328445736</cx:pt>
          <cx:pt idx="2302">76.538416422287384</cx:pt>
          <cx:pt idx="2303">76.636363636363626</cx:pt>
          <cx:pt idx="2304">76.632844574780052</cx:pt>
          <cx:pt idx="2305">76.50674486803517</cx:pt>
          <cx:pt idx="2306">76.536070381231667</cx:pt>
          <cx:pt idx="2307">76.476832844574773</cx:pt>
          <cx:pt idx="2308">76.402932551319651</cx:pt>
          <cx:pt idx="2309">76.200000000000003</cx:pt>
          <cx:pt idx="2310">76.014662756598241</cx:pt>
          <cx:pt idx="2311">75.972434017595319</cx:pt>
          <cx:pt idx="2312">75.947800586510269</cx:pt>
          <cx:pt idx="2313">75.871554252199431</cx:pt>
          <cx:pt idx="2314">75.890909090909091</cx:pt>
          <cx:pt idx="2315">75.931378299120226</cx:pt>
          <cx:pt idx="2316">75.92492668621702</cx:pt>
          <cx:pt idx="2317">75.920821114369502</cx:pt>
          <cx:pt idx="2318">75.919648093841644</cx:pt>
          <cx:pt idx="2319">76.087976539589462</cx:pt>
          <cx:pt idx="2320">76.002932551319645</cx:pt>
          <cx:pt idx="2321">76.025806451612908</cx:pt>
          <cx:pt idx="2322">75.916715542521985</cx:pt>
          <cx:pt idx="2323">76.08387096774193</cx:pt>
          <cx:pt idx="2324">76.231085043988244</cx:pt>
          <cx:pt idx="2325">76.185923753665676</cx:pt>
          <cx:pt idx="2326">76.10615835777125</cx:pt>
          <cx:pt idx="2327">76.10498533724342</cx:pt>
          <cx:pt idx="2328">76.041642228739008</cx:pt>
          <cx:pt idx="2329">75.980645161290312</cx:pt>
          <cx:pt idx="2330">75.970674486803517</cx:pt>
          <cx:pt idx="2331">75.818181818181827</cx:pt>
          <cx:pt idx="2332">75.766568914956025</cx:pt>
          <cx:pt idx="2333">75.715542521994138</cx:pt>
          <cx:pt idx="2334">75.764222873900295</cx:pt>
          <cx:pt idx="2335">75.679765395894421</cx:pt>
          <cx:pt idx="2336">75.643988269794718</cx:pt>
          <cx:pt idx="2337">75.572434017595299</cx:pt>
          <cx:pt idx="2338">75.522580645161284</cx:pt>
          <cx:pt idx="2339">75.558357771261001</cx:pt>
          <cx:pt idx="2340">75.633431085043981</cx:pt>
          <cx:pt idx="2341">75.68973607038123</cx:pt>
          <cx:pt idx="2342">75.690909090909074</cx:pt>
          <cx:pt idx="2343">75.675073313782974</cx:pt>
          <cx:pt idx="2344">75.872727272727289</cx:pt>
          <cx:pt idx="2345">75.879178885630509</cx:pt>
          <cx:pt idx="2346">75.967155425219943</cx:pt>
          <cx:pt idx="2347">76.094428152492668</cx:pt>
          <cx:pt idx="2348">76.095014662756611</cx:pt>
          <cx:pt idx="2349">76.194134897360712</cx:pt>
          <cx:pt idx="2350">76.219941348973592</cx:pt>
          <cx:pt idx="2351">76.304985337243423</cx:pt>
          <cx:pt idx="2352">76.364222873900303</cx:pt>
          <cx:pt idx="2353">76.415249266862162</cx:pt>
          <cx:pt idx="2354">76.288563049853366</cx:pt>
          <cx:pt idx="2355">76.114369501466257</cx:pt>
          <cx:pt idx="2356">76.059824046920795</cx:pt>
          <cx:pt idx="2357">76.101466275659803</cx:pt>
          <cx:pt idx="2358">76.214662756598216</cx:pt>
          <cx:pt idx="2359">76.372434017595296</cx:pt>
          <cx:pt idx="2360">76.334310850439877</cx:pt>
          <cx:pt idx="2361">76.301466275659848</cx:pt>
          <cx:pt idx="2362">76.424046920821127</cx:pt>
          <cx:pt idx="2363">76.42815249266863</cx:pt>
          <cx:pt idx="2364">76.447507331378304</cx:pt>
          <cx:pt idx="2365">76.428739002932545</cx:pt>
          <cx:pt idx="2366">76.451612903225808</cx:pt>
          <cx:pt idx="2367">76.560117302052774</cx:pt>
          <cx:pt idx="2368">76.440469208211127</cx:pt>
          <cx:pt idx="2369">76.554838709677398</cx:pt>
          <cx:pt idx="2370">76.487390029325525</cx:pt>
          <cx:pt idx="2371">76.52242424242425</cx:pt>
          <cx:pt idx="2372">76.55360501567398</cx:pt>
          <cx:pt idx="2373">76.605194805194813</cx:pt>
          <cx:pt idx="2374">76.622222222222234</cx:pt>
          <cx:pt idx="2375">76.511188811188816</cx:pt>
          <cx:pt idx="2376">76.538181818181826</cx:pt>
          <cx:pt idx="2377">76.528787878787881</cx:pt>
          <cx:pt idx="2378">76.456126482213435</cx:pt>
          <cx:pt idx="2379">76.315702479338839</cx:pt>
          <cx:pt idx="2380">76.328138528138538</cx:pt>
          <cx:pt idx="2381">76.188181818181818</cx:pt>
          <cx:pt idx="2382">76.178947368421063</cx:pt>
          <cx:pt idx="2383">76.203030303030303</cx:pt>
          <cx:pt idx="2384">76.202139037433156</cx:pt>
          <cx:pt idx="2385">76.301136363636374</cx:pt>
          <cx:pt idx="2386">76.446060606060612</cx:pt>
          <cx:pt idx="2387">76.503896103896096</cx:pt>
          <cx:pt idx="2388">76.654545454545456</cx:pt>
          <cx:pt idx="2389">76.665151515151521</cx:pt>
          <cx:pt idx="2390">76.492561983471063</cx:pt>
          <cx:pt idx="2391">76.712727272727264</cx:pt>
          <cx:pt idx="2392">76.703030303030289</cx:pt>
          <cx:pt idx="2393">76.636363636363626</cx:pt>
          <cx:pt idx="2394">76.605194805194813</cx:pt>
          <cx:pt idx="2395">76.548484848484861</cx:pt>
          <cx:pt idx="2396">76.167272727272717</cx:pt>
          <cx:pt idx="2397">76.295454545454533</cx:pt>
          <cx:pt idx="2398">76.066666666666663</cx:pt>
          <cx:pt idx="2399">77.11818181818181</cx:pt>
          <cx:pt idx="2400">76.290909090909082</cx:pt>
        </cx:lvl>
      </cx:numDim>
    </cx:data>
  </cx:chartData>
  <cx:chart>
    <cx:title pos="t" align="ctr" overlay="0">
      <cx:tx>
        <cx:rich>
          <a:bodyPr spcFirstLastPara="1" vertOverflow="ellipsis" horzOverflow="overflow" wrap="square" lIns="0" tIns="0" rIns="0" bIns="0" anchor="ctr" anchorCtr="1"/>
          <a:lstStyle/>
          <a:p>
            <a:pPr algn="ctr" rtl="0">
              <a:defRPr/>
            </a:pPr>
            <a:r>
              <a:rPr lang="en-US" sz="1400" b="0" i="0" u="none" strike="noStrike" baseline="0" dirty="0">
                <a:solidFill>
                  <a:srgbClr val="000000">
                    <a:lumMod val="65000"/>
                    <a:lumOff val="35000"/>
                  </a:srgbClr>
                </a:solidFill>
                <a:latin typeface="Arial"/>
                <a:ea typeface="ＭＳ Ｐゴシック"/>
              </a:rPr>
              <a:t>ROLLING MEAN</a:t>
            </a:r>
          </a:p>
          <a:p>
            <a:pPr algn="ctr" rtl="0">
              <a:defRPr/>
            </a:pPr>
            <a:r>
              <a:rPr lang="en-US" sz="1400" b="0" i="0" u="none" strike="noStrike" baseline="0" dirty="0">
                <a:solidFill>
                  <a:srgbClr val="000000">
                    <a:lumMod val="65000"/>
                    <a:lumOff val="35000"/>
                  </a:srgbClr>
                </a:solidFill>
                <a:latin typeface="Arial"/>
                <a:ea typeface="ＭＳ Ｐゴシック"/>
              </a:rPr>
              <a:t>PUMP FAILURE =1 </a:t>
            </a:r>
          </a:p>
        </cx:rich>
      </cx:tx>
    </cx:title>
    <cx:plotArea>
      <cx:plotAreaRegion>
        <cx:series layoutId="boxWhisker" uniqueId="{6D73742D-1999-4396-9E74-FFF31FDB2043}">
          <cx:tx>
            <cx:txData>
              <cx:f>'DRT Rolling Mean'!$C$1</cx:f>
              <cx:v>Volumetric Flow Meter 1</cx:v>
            </cx:txData>
          </cx:tx>
          <cx:dataId val="0"/>
          <cx:layoutPr>
            <cx:visibility meanLine="0" meanMarker="1" nonoutliers="0" outliers="1"/>
            <cx:statistics quartileMethod="exclusive"/>
          </cx:layoutPr>
        </cx:series>
        <cx:series layoutId="boxWhisker" uniqueId="{573033AF-BDB9-4DCB-A03E-FD96B9D733DB}">
          <cx:tx>
            <cx:txData>
              <cx:f>'DRT Rolling Mean'!$D$1</cx:f>
              <cx:v>Volumetric Flow Meter 2</cx:v>
            </cx:txData>
          </cx:tx>
          <cx:dataId val="1"/>
          <cx:layoutPr>
            <cx:visibility meanLine="0" meanMarker="1" nonoutliers="0" outliers="1"/>
            <cx:statistics quartileMethod="exclusive"/>
          </cx:layoutPr>
        </cx:series>
        <cx:series layoutId="boxWhisker" uniqueId="{27FF3D58-7F11-4D96-BB35-2F46296C5C55}">
          <cx:tx>
            <cx:txData>
              <cx:f>'DRT Rolling Mean'!$E$1</cx:f>
              <cx:v>Pump Speed (RPM)</cx:v>
            </cx:txData>
          </cx:tx>
          <cx:dataId val="2"/>
          <cx:layoutPr>
            <cx:visibility meanLine="0" meanMarker="1" nonoutliers="0" outliers="1"/>
            <cx:statistics quartileMethod="exclusive"/>
          </cx:layoutPr>
        </cx:series>
        <cx:series layoutId="boxWhisker" uniqueId="{E867A1AB-FC22-4541-B494-5F477C33421A}">
          <cx:tx>
            <cx:txData>
              <cx:f>'DRT Rolling Mean'!$F$1</cx:f>
              <cx:v>Pump Torque </cx:v>
            </cx:txData>
          </cx:tx>
          <cx:dataId val="3"/>
          <cx:layoutPr>
            <cx:visibility meanLine="0" meanMarker="1" nonoutliers="0" outliers="1"/>
            <cx:statistics quartileMethod="exclusive"/>
          </cx:layoutPr>
        </cx:series>
        <cx:series layoutId="boxWhisker" uniqueId="{40B7A673-AAFE-4932-8FA6-D9A22CF998D6}">
          <cx:tx>
            <cx:txData>
              <cx:f>'DRT Rolling Mean'!$G$1</cx:f>
              <cx:v>Ambient Temperature</cx:v>
            </cx:txData>
          </cx:tx>
          <cx:dataId val="4"/>
          <cx:layoutPr>
            <cx:visibility meanLine="0" meanMarker="1" nonoutliers="0" outliers="1"/>
            <cx:statistics quartileMethod="exclusive"/>
          </cx:layoutPr>
        </cx:series>
        <cx:series layoutId="boxWhisker" uniqueId="{661AB930-3384-448B-9B1D-F2E1922D057F}">
          <cx:tx>
            <cx:txData>
              <cx:f>'DRT Rolling Mean'!$H$1</cx:f>
              <cx:v>Horse Power</cx:v>
            </cx:txData>
          </cx:tx>
          <cx:dataId val="5"/>
          <cx:layoutPr>
            <cx:visibility meanLine="0" meanMarker="1" nonoutliers="0" outliers="1"/>
            <cx:statistics quartileMethod="exclusive"/>
          </cx:layoutPr>
        </cx:series>
        <cx:series layoutId="boxWhisker" uniqueId="{124F5A23-6140-4718-AC4A-210E66C4775C}">
          <cx:tx>
            <cx:txData>
              <cx:f>'DRT Rolling Mean'!$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r"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15/4/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image" Target="../media/image3.png"/><Relationship Id="rId7" Type="http://schemas.openxmlformats.org/officeDocument/2006/relationships/image" Target="../media/image5.png"/><Relationship Id="rId2" Type="http://schemas.microsoft.com/office/2014/relationships/chartEx" Target="../charts/chartEx1.xml"/><Relationship Id="rId1" Type="http://schemas.openxmlformats.org/officeDocument/2006/relationships/slideLayout" Target="../slideLayouts/slideLayout2.xml"/><Relationship Id="rId6" Type="http://schemas.microsoft.com/office/2014/relationships/chartEx" Target="../charts/chartEx3.xml"/><Relationship Id="rId5" Type="http://schemas.openxmlformats.org/officeDocument/2006/relationships/image" Target="../media/image4.png"/><Relationship Id="rId4" Type="http://schemas.microsoft.com/office/2014/relationships/chartEx" Target="../charts/chartEx2.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915DA420-76F5-42B4-8A5B-196826B72F11}"/>
              </a:ext>
            </a:extLst>
          </p:cNvPr>
          <p:cNvGraphicFramePr>
            <a:graphicFrameLocks/>
          </p:cNvGraphicFramePr>
          <p:nvPr>
            <p:extLst>
              <p:ext uri="{D42A27DB-BD31-4B8C-83A1-F6EECF244321}">
                <p14:modId xmlns:p14="http://schemas.microsoft.com/office/powerpoint/2010/main" val="2163433796"/>
              </p:ext>
            </p:extLst>
          </p:nvPr>
        </p:nvGraphicFramePr>
        <p:xfrm>
          <a:off x="171450" y="981004"/>
          <a:ext cx="8439149" cy="3163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FE44C24B-65FC-469A-A57D-B86A83969AAC}"/>
              </a:ext>
            </a:extLst>
          </p:cNvPr>
          <p:cNvGraphicFramePr>
            <a:graphicFrameLocks noGrp="1"/>
          </p:cNvGraphicFramePr>
          <p:nvPr>
            <p:extLst>
              <p:ext uri="{D42A27DB-BD31-4B8C-83A1-F6EECF244321}">
                <p14:modId xmlns:p14="http://schemas.microsoft.com/office/powerpoint/2010/main" val="4083297653"/>
              </p:ext>
            </p:extLst>
          </p:nvPr>
        </p:nvGraphicFramePr>
        <p:xfrm>
          <a:off x="248356" y="4309271"/>
          <a:ext cx="2540001" cy="1835052"/>
        </p:xfrm>
        <a:graphic>
          <a:graphicData uri="http://schemas.openxmlformats.org/drawingml/2006/table">
            <a:tbl>
              <a:tblPr>
                <a:tableStyleId>{5C22544A-7EE6-4342-B048-85BDC9FD1C3A}</a:tableStyleId>
              </a:tblPr>
              <a:tblGrid>
                <a:gridCol w="926268">
                  <a:extLst>
                    <a:ext uri="{9D8B030D-6E8A-4147-A177-3AD203B41FA5}">
                      <a16:colId xmlns:a16="http://schemas.microsoft.com/office/drawing/2014/main" val="2414233842"/>
                    </a:ext>
                  </a:extLst>
                </a:gridCol>
                <a:gridCol w="1143362">
                  <a:extLst>
                    <a:ext uri="{9D8B030D-6E8A-4147-A177-3AD203B41FA5}">
                      <a16:colId xmlns:a16="http://schemas.microsoft.com/office/drawing/2014/main" val="3806452753"/>
                    </a:ext>
                  </a:extLst>
                </a:gridCol>
                <a:gridCol w="470371">
                  <a:extLst>
                    <a:ext uri="{9D8B030D-6E8A-4147-A177-3AD203B41FA5}">
                      <a16:colId xmlns:a16="http://schemas.microsoft.com/office/drawing/2014/main" val="3438984705"/>
                    </a:ext>
                  </a:extLst>
                </a:gridCol>
              </a:tblGrid>
              <a:tr h="185776">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4657" marR="4657" marT="4657" marB="0" anchor="b"/>
                </a:tc>
                <a:tc>
                  <a:txBody>
                    <a:bodyPr/>
                    <a:lstStyle/>
                    <a:p>
                      <a:pPr algn="l" fontAlgn="b"/>
                      <a:r>
                        <a:rPr lang="en-US" sz="800" u="none" strike="noStrike">
                          <a:effectLst/>
                        </a:rPr>
                        <a:t> </a:t>
                      </a:r>
                      <a:endParaRPr lang="en-US" sz="800" b="0"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365410539"/>
                  </a:ext>
                </a:extLst>
              </a:tr>
              <a:tr h="185776">
                <a:tc>
                  <a:txBody>
                    <a:bodyPr/>
                    <a:lstStyle/>
                    <a:p>
                      <a:pPr algn="l" fontAlgn="b"/>
                      <a:r>
                        <a:rPr lang="en-US" sz="800" u="none" strike="noStrike">
                          <a:effectLst/>
                        </a:rPr>
                        <a:t>Raw Data</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r>
                        <a:rPr lang="en-US" sz="800" u="none" strike="noStrike">
                          <a:effectLst/>
                        </a:rPr>
                        <a:t>Correlation Coefficient</a:t>
                      </a:r>
                      <a:endParaRPr lang="en-US" sz="800" b="1" i="0" u="none" strike="noStrike">
                        <a:solidFill>
                          <a:srgbClr val="FFFFFF"/>
                        </a:solidFill>
                        <a:effectLst/>
                        <a:latin typeface="Arial" panose="020B060402020202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918993330"/>
                  </a:ext>
                </a:extLst>
              </a:tr>
              <a:tr h="189093">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1211472</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4096225359"/>
                  </a:ext>
                </a:extLst>
              </a:tr>
              <a:tr h="199045">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684351</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884968113"/>
                  </a:ext>
                </a:extLst>
              </a:tr>
              <a:tr h="199045">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102508317</a:t>
                      </a:r>
                      <a:endParaRPr lang="en-US" sz="800" b="0" i="0" u="none" strike="noStrike">
                        <a:solidFill>
                          <a:srgbClr val="9C0006"/>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2439226067"/>
                  </a:ext>
                </a:extLst>
              </a:tr>
              <a:tr h="199045">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0794584</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394490287"/>
                  </a:ext>
                </a:extLst>
              </a:tr>
              <a:tr h="199045">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33192706</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1809866619"/>
                  </a:ext>
                </a:extLst>
              </a:tr>
              <a:tr h="199045">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260016062</a:t>
                      </a:r>
                      <a:endParaRPr lang="en-US" sz="800" b="0" i="0" u="none" strike="noStrike">
                        <a:solidFill>
                          <a:srgbClr val="9C57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661647821"/>
                  </a:ext>
                </a:extLst>
              </a:tr>
              <a:tr h="199045">
                <a:tc>
                  <a:txBody>
                    <a:bodyPr/>
                    <a:lstStyle/>
                    <a:p>
                      <a:pPr algn="l" fontAlgn="b"/>
                      <a:r>
                        <a:rPr lang="en-US" sz="700" u="none" strike="noStrike" dirty="0">
                          <a:effectLst/>
                        </a:rPr>
                        <a:t>Horse-Power</a:t>
                      </a:r>
                      <a:endParaRPr lang="en-US" sz="700" b="0" i="0" u="none" strike="noStrike" dirty="0">
                        <a:solidFill>
                          <a:srgbClr val="000000"/>
                        </a:solidFill>
                        <a:effectLst/>
                        <a:latin typeface="Arial" panose="020B0604020202020204" pitchFamily="34" charset="0"/>
                      </a:endParaRPr>
                    </a:p>
                  </a:txBody>
                  <a:tcPr marL="4657" marR="4657" marT="4657" marB="0" anchor="b"/>
                </a:tc>
                <a:tc>
                  <a:txBody>
                    <a:bodyPr/>
                    <a:lstStyle/>
                    <a:p>
                      <a:pPr algn="r" fontAlgn="b"/>
                      <a:r>
                        <a:rPr lang="en-US" sz="800" u="none" strike="noStrike">
                          <a:effectLst/>
                        </a:rPr>
                        <a:t>0.421844074</a:t>
                      </a:r>
                      <a:endParaRPr lang="en-US" sz="800" b="0" i="0" u="none" strike="noStrike">
                        <a:solidFill>
                          <a:srgbClr val="006100"/>
                        </a:solidFill>
                        <a:effectLst/>
                        <a:latin typeface="Calibri" panose="020F0502020204030204" pitchFamily="34" charset="0"/>
                      </a:endParaRPr>
                    </a:p>
                  </a:txBody>
                  <a:tcPr marL="4657" marR="4657" marT="4657" marB="0" anchor="b"/>
                </a:tc>
                <a:tc>
                  <a:txBody>
                    <a:bodyPr/>
                    <a:lstStyle/>
                    <a:p>
                      <a:pPr algn="l" fontAlgn="b"/>
                      <a:endParaRPr lang="en-US" sz="800" b="0" i="0" u="none" strike="noStrike" dirty="0">
                        <a:solidFill>
                          <a:srgbClr val="000000"/>
                        </a:solidFill>
                        <a:effectLst/>
                        <a:latin typeface="Arial" panose="020B0604020202020204" pitchFamily="34" charset="0"/>
                      </a:endParaRPr>
                    </a:p>
                  </a:txBody>
                  <a:tcPr marL="4657" marR="4657" marT="4657" marB="0" anchor="b"/>
                </a:tc>
                <a:extLst>
                  <a:ext uri="{0D108BD9-81ED-4DB2-BD59-A6C34878D82A}">
                    <a16:rowId xmlns:a16="http://schemas.microsoft.com/office/drawing/2014/main" val="748167494"/>
                  </a:ext>
                </a:extLst>
              </a:tr>
            </a:tbl>
          </a:graphicData>
        </a:graphic>
      </p:graphicFrame>
      <p:graphicFrame>
        <p:nvGraphicFramePr>
          <p:cNvPr id="6" name="Table 5">
            <a:extLst>
              <a:ext uri="{FF2B5EF4-FFF2-40B4-BE49-F238E27FC236}">
                <a16:creationId xmlns:a16="http://schemas.microsoft.com/office/drawing/2014/main" id="{732874C0-0624-4CB5-8F7A-39F72FC10D3F}"/>
              </a:ext>
            </a:extLst>
          </p:cNvPr>
          <p:cNvGraphicFramePr>
            <a:graphicFrameLocks noGrp="1"/>
          </p:cNvGraphicFramePr>
          <p:nvPr>
            <p:extLst>
              <p:ext uri="{D42A27DB-BD31-4B8C-83A1-F6EECF244321}">
                <p14:modId xmlns:p14="http://schemas.microsoft.com/office/powerpoint/2010/main" val="429700934"/>
              </p:ext>
            </p:extLst>
          </p:nvPr>
        </p:nvGraphicFramePr>
        <p:xfrm>
          <a:off x="3288243" y="4309272"/>
          <a:ext cx="2333624" cy="1908670"/>
        </p:xfrm>
        <a:graphic>
          <a:graphicData uri="http://schemas.openxmlformats.org/drawingml/2006/table">
            <a:tbl>
              <a:tblPr>
                <a:tableStyleId>{5C22544A-7EE6-4342-B048-85BDC9FD1C3A}</a:tableStyleId>
              </a:tblPr>
              <a:tblGrid>
                <a:gridCol w="763841">
                  <a:extLst>
                    <a:ext uri="{9D8B030D-6E8A-4147-A177-3AD203B41FA5}">
                      <a16:colId xmlns:a16="http://schemas.microsoft.com/office/drawing/2014/main" val="3704608442"/>
                    </a:ext>
                  </a:extLst>
                </a:gridCol>
                <a:gridCol w="1569783">
                  <a:extLst>
                    <a:ext uri="{9D8B030D-6E8A-4147-A177-3AD203B41FA5}">
                      <a16:colId xmlns:a16="http://schemas.microsoft.com/office/drawing/2014/main" val="2459847440"/>
                    </a:ext>
                  </a:extLst>
                </a:gridCol>
              </a:tblGrid>
              <a:tr h="263442">
                <a:tc>
                  <a:txBody>
                    <a:bodyPr/>
                    <a:lstStyle/>
                    <a:p>
                      <a:pPr algn="l" fontAlgn="b"/>
                      <a:r>
                        <a:rPr lang="en-US" sz="700" u="none" strike="noStrike">
                          <a:effectLst/>
                        </a:rPr>
                        <a:t>PUMP FAILURE (1 or 0)</a:t>
                      </a:r>
                      <a:endParaRPr lang="en-US" sz="700" b="1" i="0" u="none" strike="noStrike">
                        <a:solidFill>
                          <a:srgbClr val="FFFFFF"/>
                        </a:solidFill>
                        <a:effectLst/>
                        <a:latin typeface="Calibri" panose="020F0502020204030204" pitchFamily="34" charset="0"/>
                      </a:endParaRPr>
                    </a:p>
                  </a:txBody>
                  <a:tcPr marL="5253" marR="5253" marT="5253" marB="0" anchor="b"/>
                </a:tc>
                <a:tc>
                  <a:txBody>
                    <a:bodyPr/>
                    <a:lstStyle/>
                    <a:p>
                      <a:pPr algn="l" fontAlgn="b"/>
                      <a:r>
                        <a:rPr lang="en-US" sz="900" u="none" strike="noStrike" dirty="0">
                          <a:effectLst/>
                        </a:rPr>
                        <a:t>Rolling Mean (30 Minute) Correlation Coefficient</a:t>
                      </a:r>
                      <a:endParaRPr lang="en-US" sz="900" b="0" i="0" u="none" strike="noStrike" dirty="0">
                        <a:solidFill>
                          <a:srgbClr val="FFFFFF"/>
                        </a:solidFill>
                        <a:effectLst/>
                        <a:latin typeface="Arial" panose="020B0604020202020204" pitchFamily="34" charset="0"/>
                      </a:endParaRPr>
                    </a:p>
                  </a:txBody>
                  <a:tcPr marL="5253" marR="5253" marT="5253" marB="0" anchor="b"/>
                </a:tc>
                <a:extLst>
                  <a:ext uri="{0D108BD9-81ED-4DB2-BD59-A6C34878D82A}">
                    <a16:rowId xmlns:a16="http://schemas.microsoft.com/office/drawing/2014/main" val="4286654684"/>
                  </a:ext>
                </a:extLst>
              </a:tr>
              <a:tr h="234721">
                <a:tc>
                  <a:txBody>
                    <a:bodyPr/>
                    <a:lstStyle/>
                    <a:p>
                      <a:pPr algn="l" fontAlgn="b"/>
                      <a:r>
                        <a:rPr lang="en-US" sz="800" u="none" strike="noStrike">
                          <a:effectLst/>
                        </a:rPr>
                        <a:t>Volumetric Flow Meter 2</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7731416</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79324519"/>
                  </a:ext>
                </a:extLst>
              </a:tr>
              <a:tr h="203759">
                <a:tc>
                  <a:txBody>
                    <a:bodyPr/>
                    <a:lstStyle/>
                    <a:p>
                      <a:pPr algn="l" fontAlgn="b"/>
                      <a:r>
                        <a:rPr lang="en-US" sz="800" u="none" strike="noStrike">
                          <a:effectLst/>
                        </a:rPr>
                        <a:t>Pump Efficiency</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502783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051740848"/>
                  </a:ext>
                </a:extLst>
              </a:tr>
              <a:tr h="234721">
                <a:tc>
                  <a:txBody>
                    <a:bodyPr/>
                    <a:lstStyle/>
                    <a:p>
                      <a:pPr algn="l" fontAlgn="b"/>
                      <a:r>
                        <a:rPr lang="en-US" sz="800" u="none" strike="noStrike">
                          <a:effectLst/>
                        </a:rPr>
                        <a:t>Volumetric Flow Meter 1</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692425138</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743405334"/>
                  </a:ext>
                </a:extLst>
              </a:tr>
              <a:tr h="234721">
                <a:tc>
                  <a:txBody>
                    <a:bodyPr/>
                    <a:lstStyle/>
                    <a:p>
                      <a:pPr algn="l" fontAlgn="b"/>
                      <a:r>
                        <a:rPr lang="en-US" sz="800" u="none" strike="noStrike">
                          <a:effectLst/>
                        </a:rPr>
                        <a:t>Ambient Temperature</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302615535</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48078777"/>
                  </a:ext>
                </a:extLst>
              </a:tr>
              <a:tr h="214483">
                <a:tc>
                  <a:txBody>
                    <a:bodyPr/>
                    <a:lstStyle/>
                    <a:p>
                      <a:pPr algn="l" fontAlgn="b"/>
                      <a:r>
                        <a:rPr lang="en-US" sz="800" u="none" strike="noStrike">
                          <a:effectLst/>
                        </a:rPr>
                        <a:t>Pump Torque </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215937441</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2382352386"/>
                  </a:ext>
                </a:extLst>
              </a:tr>
              <a:tr h="234721">
                <a:tc>
                  <a:txBody>
                    <a:bodyPr/>
                    <a:lstStyle/>
                    <a:p>
                      <a:pPr algn="l" fontAlgn="b"/>
                      <a:r>
                        <a:rPr lang="en-US" sz="800" u="none" strike="noStrike">
                          <a:effectLst/>
                        </a:rPr>
                        <a:t>Pump Speed (RPM)</a:t>
                      </a:r>
                      <a:endParaRPr lang="en-US" sz="800" b="0" i="0" u="none" strike="noStrike">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a:effectLst/>
                        </a:rPr>
                        <a:t>-0.184159622</a:t>
                      </a:r>
                      <a:endParaRPr lang="en-US" sz="900" b="0" i="0" u="none" strike="noStrike">
                        <a:solidFill>
                          <a:srgbClr val="9C0006"/>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3974645938"/>
                  </a:ext>
                </a:extLst>
              </a:tr>
              <a:tr h="214483">
                <a:tc>
                  <a:txBody>
                    <a:bodyPr/>
                    <a:lstStyle/>
                    <a:p>
                      <a:pPr algn="l" fontAlgn="b"/>
                      <a:r>
                        <a:rPr lang="en-US" sz="800" u="none" strike="noStrike" dirty="0">
                          <a:effectLst/>
                        </a:rPr>
                        <a:t>Horse-Power</a:t>
                      </a:r>
                      <a:endParaRPr lang="en-US" sz="800" b="0" i="0" u="none" strike="noStrike" dirty="0">
                        <a:solidFill>
                          <a:srgbClr val="000000"/>
                        </a:solidFill>
                        <a:effectLst/>
                        <a:latin typeface="Arial" panose="020B0604020202020204" pitchFamily="34" charset="0"/>
                      </a:endParaRPr>
                    </a:p>
                  </a:txBody>
                  <a:tcPr marL="5253" marR="5253" marT="5253" marB="0" anchor="b"/>
                </a:tc>
                <a:tc>
                  <a:txBody>
                    <a:bodyPr/>
                    <a:lstStyle/>
                    <a:p>
                      <a:pPr algn="r" fontAlgn="b"/>
                      <a:r>
                        <a:rPr lang="en-US" sz="900" u="none" strike="noStrike" dirty="0">
                          <a:effectLst/>
                        </a:rPr>
                        <a:t>0.218050641</a:t>
                      </a:r>
                      <a:endParaRPr lang="en-US" sz="900" b="0" i="0" u="none" strike="noStrike" dirty="0">
                        <a:solidFill>
                          <a:srgbClr val="006100"/>
                        </a:solidFill>
                        <a:effectLst/>
                        <a:latin typeface="Calibri" panose="020F0502020204030204" pitchFamily="34" charset="0"/>
                      </a:endParaRPr>
                    </a:p>
                  </a:txBody>
                  <a:tcPr marL="5253" marR="5253" marT="5253" marB="0" anchor="b"/>
                </a:tc>
                <a:extLst>
                  <a:ext uri="{0D108BD9-81ED-4DB2-BD59-A6C34878D82A}">
                    <a16:rowId xmlns:a16="http://schemas.microsoft.com/office/drawing/2014/main" val="1946987886"/>
                  </a:ext>
                </a:extLst>
              </a:tr>
            </a:tbl>
          </a:graphicData>
        </a:graphic>
      </p:graphicFrame>
      <p:graphicFrame>
        <p:nvGraphicFramePr>
          <p:cNvPr id="10" name="Table 9">
            <a:extLst>
              <a:ext uri="{FF2B5EF4-FFF2-40B4-BE49-F238E27FC236}">
                <a16:creationId xmlns:a16="http://schemas.microsoft.com/office/drawing/2014/main" id="{BF995A5A-9435-4659-8C2B-855C9F192780}"/>
              </a:ext>
            </a:extLst>
          </p:cNvPr>
          <p:cNvGraphicFramePr>
            <a:graphicFrameLocks noGrp="1"/>
          </p:cNvGraphicFramePr>
          <p:nvPr>
            <p:extLst>
              <p:ext uri="{D42A27DB-BD31-4B8C-83A1-F6EECF244321}">
                <p14:modId xmlns:p14="http://schemas.microsoft.com/office/powerpoint/2010/main" val="1746005982"/>
              </p:ext>
            </p:extLst>
          </p:nvPr>
        </p:nvGraphicFramePr>
        <p:xfrm>
          <a:off x="6121753" y="4309270"/>
          <a:ext cx="2700514" cy="1950418"/>
        </p:xfrm>
        <a:graphic>
          <a:graphicData uri="http://schemas.openxmlformats.org/drawingml/2006/table">
            <a:tbl>
              <a:tblPr>
                <a:tableStyleId>{5C22544A-7EE6-4342-B048-85BDC9FD1C3A}</a:tableStyleId>
              </a:tblPr>
              <a:tblGrid>
                <a:gridCol w="1230127">
                  <a:extLst>
                    <a:ext uri="{9D8B030D-6E8A-4147-A177-3AD203B41FA5}">
                      <a16:colId xmlns:a16="http://schemas.microsoft.com/office/drawing/2014/main" val="3643701534"/>
                    </a:ext>
                  </a:extLst>
                </a:gridCol>
                <a:gridCol w="1470387">
                  <a:extLst>
                    <a:ext uri="{9D8B030D-6E8A-4147-A177-3AD203B41FA5}">
                      <a16:colId xmlns:a16="http://schemas.microsoft.com/office/drawing/2014/main" val="260051517"/>
                    </a:ext>
                  </a:extLst>
                </a:gridCol>
              </a:tblGrid>
              <a:tr h="188121">
                <a:tc>
                  <a:txBody>
                    <a:bodyPr/>
                    <a:lstStyle/>
                    <a:p>
                      <a:pPr algn="l" fontAlgn="b"/>
                      <a:r>
                        <a:rPr lang="en-US" sz="600" u="none" strike="noStrike">
                          <a:effectLst/>
                        </a:rPr>
                        <a:t>PUMP FAILURE (1 or 0)</a:t>
                      </a:r>
                      <a:endParaRPr lang="en-US" sz="600" b="1" i="0" u="none" strike="noStrike">
                        <a:solidFill>
                          <a:srgbClr val="FFFFFF"/>
                        </a:solidFill>
                        <a:effectLst/>
                        <a:latin typeface="Calibri" panose="020F0502020204030204" pitchFamily="34" charset="0"/>
                      </a:endParaRPr>
                    </a:p>
                  </a:txBody>
                  <a:tcPr marL="4244" marR="4244" marT="4244" marB="0" anchor="b"/>
                </a:tc>
                <a:tc>
                  <a:txBody>
                    <a:bodyPr/>
                    <a:lstStyle/>
                    <a:p>
                      <a:pPr algn="l" fontAlgn="b"/>
                      <a:r>
                        <a:rPr lang="en-US" sz="700" u="none" strike="noStrike">
                          <a:effectLst/>
                        </a:rPr>
                        <a:t> </a:t>
                      </a:r>
                      <a:endParaRPr lang="en-US" sz="700" b="0"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3688291828"/>
                  </a:ext>
                </a:extLst>
              </a:tr>
              <a:tr h="361463">
                <a:tc>
                  <a:txBody>
                    <a:bodyPr/>
                    <a:lstStyle/>
                    <a:p>
                      <a:pPr algn="l" fontAlgn="b"/>
                      <a:r>
                        <a:rPr lang="en-US" sz="700" u="none" strike="noStrike">
                          <a:effectLst/>
                        </a:rPr>
                        <a:t>Rolling Stdev (30 Minute)</a:t>
                      </a:r>
                      <a:endParaRPr lang="en-US" sz="700" b="1" i="0" u="none" strike="noStrike">
                        <a:solidFill>
                          <a:srgbClr val="FFFFFF"/>
                        </a:solidFill>
                        <a:effectLst/>
                        <a:latin typeface="Arial" panose="020B0604020202020204" pitchFamily="34" charset="0"/>
                      </a:endParaRPr>
                    </a:p>
                  </a:txBody>
                  <a:tcPr marL="4244" marR="4244" marT="4244" marB="0" anchor="b"/>
                </a:tc>
                <a:tc>
                  <a:txBody>
                    <a:bodyPr/>
                    <a:lstStyle/>
                    <a:p>
                      <a:pPr algn="l" fontAlgn="b"/>
                      <a:r>
                        <a:rPr lang="en-US" sz="700" u="none" strike="noStrike">
                          <a:effectLst/>
                        </a:rPr>
                        <a:t>Correlation Coefficient</a:t>
                      </a:r>
                      <a:endParaRPr lang="en-US" sz="700" b="1" i="0" u="none" strike="noStrike">
                        <a:solidFill>
                          <a:srgbClr val="FFFFFF"/>
                        </a:solidFill>
                        <a:effectLst/>
                        <a:latin typeface="Arial" panose="020B0604020202020204" pitchFamily="34" charset="0"/>
                      </a:endParaRPr>
                    </a:p>
                  </a:txBody>
                  <a:tcPr marL="4244" marR="4244" marT="4244" marB="0" anchor="b"/>
                </a:tc>
                <a:extLst>
                  <a:ext uri="{0D108BD9-81ED-4DB2-BD59-A6C34878D82A}">
                    <a16:rowId xmlns:a16="http://schemas.microsoft.com/office/drawing/2014/main" val="2241373538"/>
                  </a:ext>
                </a:extLst>
              </a:tr>
              <a:tr h="191480">
                <a:tc>
                  <a:txBody>
                    <a:bodyPr/>
                    <a:lstStyle/>
                    <a:p>
                      <a:pPr algn="l" fontAlgn="b"/>
                      <a:r>
                        <a:rPr lang="en-US" sz="700" u="none" strike="noStrike">
                          <a:effectLst/>
                        </a:rPr>
                        <a:t>Pump Torque </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597260414</a:t>
                      </a:r>
                      <a:endParaRPr lang="en-US" sz="700" b="0" i="0" u="none" strike="noStrike">
                        <a:solidFill>
                          <a:srgbClr val="9C0006"/>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671902921"/>
                  </a:ext>
                </a:extLst>
              </a:tr>
              <a:tr h="201559">
                <a:tc>
                  <a:txBody>
                    <a:bodyPr/>
                    <a:lstStyle/>
                    <a:p>
                      <a:pPr algn="l" fontAlgn="b"/>
                      <a:r>
                        <a:rPr lang="en-US" sz="700" u="none" strike="noStrike">
                          <a:effectLst/>
                        </a:rPr>
                        <a:t>Ambient Temperature</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0005043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303887908"/>
                  </a:ext>
                </a:extLst>
              </a:tr>
              <a:tr h="201559">
                <a:tc>
                  <a:txBody>
                    <a:bodyPr/>
                    <a:lstStyle/>
                    <a:p>
                      <a:pPr algn="l" fontAlgn="b"/>
                      <a:r>
                        <a:rPr lang="en-US" sz="700" u="none" strike="noStrike">
                          <a:effectLst/>
                        </a:rPr>
                        <a:t>Pump Speed (RPM)</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4555908</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37976362"/>
                  </a:ext>
                </a:extLst>
              </a:tr>
              <a:tr h="201559">
                <a:tc>
                  <a:txBody>
                    <a:bodyPr/>
                    <a:lstStyle/>
                    <a:p>
                      <a:pPr algn="l" fontAlgn="b"/>
                      <a:r>
                        <a:rPr lang="en-US" sz="700" u="none" strike="noStrike">
                          <a:effectLst/>
                        </a:rPr>
                        <a:t>Volumetric Flow Meter 2</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25920871</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1046909384"/>
                  </a:ext>
                </a:extLst>
              </a:tr>
              <a:tr h="201559">
                <a:tc>
                  <a:txBody>
                    <a:bodyPr/>
                    <a:lstStyle/>
                    <a:p>
                      <a:pPr algn="l" fontAlgn="b"/>
                      <a:r>
                        <a:rPr lang="en-US" sz="700" u="none" strike="noStrike">
                          <a:effectLst/>
                        </a:rPr>
                        <a:t>Pump Efficiency</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2705500126"/>
                  </a:ext>
                </a:extLst>
              </a:tr>
              <a:tr h="201559">
                <a:tc>
                  <a:txBody>
                    <a:bodyPr/>
                    <a:lstStyle/>
                    <a:p>
                      <a:pPr algn="l" fontAlgn="b"/>
                      <a:r>
                        <a:rPr lang="en-US" sz="700" u="none" strike="noStrike">
                          <a:effectLst/>
                        </a:rPr>
                        <a:t>Volumetric Flow Meter 1</a:t>
                      </a:r>
                      <a:endParaRPr lang="en-US" sz="700" b="0" i="0" u="none" strike="noStrike">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a:effectLst/>
                        </a:rPr>
                        <a:t>0.64</a:t>
                      </a:r>
                      <a:endParaRPr lang="en-US" sz="700" b="0" i="0" u="none" strike="noStrike">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197079392"/>
                  </a:ext>
                </a:extLst>
              </a:tr>
              <a:tr h="201559">
                <a:tc>
                  <a:txBody>
                    <a:bodyPr/>
                    <a:lstStyle/>
                    <a:p>
                      <a:pPr algn="l" fontAlgn="b"/>
                      <a:r>
                        <a:rPr lang="en-US" sz="700" u="none" strike="noStrike" dirty="0">
                          <a:effectLst/>
                        </a:rPr>
                        <a:t>Horse Power</a:t>
                      </a:r>
                      <a:endParaRPr lang="en-US" sz="700" b="0" i="0" u="none" strike="noStrike" dirty="0">
                        <a:solidFill>
                          <a:srgbClr val="000000"/>
                        </a:solidFill>
                        <a:effectLst/>
                        <a:latin typeface="Arial" panose="020B0604020202020204" pitchFamily="34" charset="0"/>
                      </a:endParaRPr>
                    </a:p>
                  </a:txBody>
                  <a:tcPr marL="4244" marR="4244" marT="4244" marB="0" anchor="b"/>
                </a:tc>
                <a:tc>
                  <a:txBody>
                    <a:bodyPr/>
                    <a:lstStyle/>
                    <a:p>
                      <a:pPr algn="r" fontAlgn="b"/>
                      <a:r>
                        <a:rPr lang="en-US" sz="700" u="none" strike="noStrike" dirty="0">
                          <a:effectLst/>
                        </a:rPr>
                        <a:t>0.69</a:t>
                      </a:r>
                      <a:endParaRPr lang="en-US" sz="700" b="0" i="0" u="none" strike="noStrike" dirty="0">
                        <a:solidFill>
                          <a:srgbClr val="000000"/>
                        </a:solidFill>
                        <a:effectLst/>
                        <a:latin typeface="Calibri" panose="020F0502020204030204" pitchFamily="34" charset="0"/>
                      </a:endParaRPr>
                    </a:p>
                  </a:txBody>
                  <a:tcPr marL="4244" marR="4244" marT="4244" marB="0" anchor="b"/>
                </a:tc>
                <a:extLst>
                  <a:ext uri="{0D108BD9-81ED-4DB2-BD59-A6C34878D82A}">
                    <a16:rowId xmlns:a16="http://schemas.microsoft.com/office/drawing/2014/main" val="3353292396"/>
                  </a:ext>
                </a:extLst>
              </a:tr>
            </a:tbl>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1539B7AB-E2C4-EE42-8C58-FDC7F3B7879B}"/>
              </a:ext>
            </a:extLst>
          </p:cNvPr>
          <p:cNvGraphicFramePr>
            <a:graphicFrameLocks/>
          </p:cNvGraphicFramePr>
          <p:nvPr>
            <p:extLst>
              <p:ext uri="{D42A27DB-BD31-4B8C-83A1-F6EECF244321}">
                <p14:modId xmlns:p14="http://schemas.microsoft.com/office/powerpoint/2010/main" val="322209304"/>
              </p:ext>
            </p:extLst>
          </p:nvPr>
        </p:nvGraphicFramePr>
        <p:xfrm>
          <a:off x="1548990" y="1057971"/>
          <a:ext cx="5561674" cy="25033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13027CCB-4B2A-8840-B79A-9CD66DF92670}"/>
              </a:ext>
            </a:extLst>
          </p:cNvPr>
          <p:cNvGraphicFramePr>
            <a:graphicFrameLocks/>
          </p:cNvGraphicFramePr>
          <p:nvPr>
            <p:extLst>
              <p:ext uri="{D42A27DB-BD31-4B8C-83A1-F6EECF244321}">
                <p14:modId xmlns:p14="http://schemas.microsoft.com/office/powerpoint/2010/main" val="4064494793"/>
              </p:ext>
            </p:extLst>
          </p:nvPr>
        </p:nvGraphicFramePr>
        <p:xfrm>
          <a:off x="1348829" y="3707911"/>
          <a:ext cx="6084392" cy="27410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430887"/>
          </a:xfrm>
        </p:spPr>
        <p:txBody>
          <a:bodyPr/>
          <a:lstStyle/>
          <a:p>
            <a:pPr algn="just"/>
            <a:r>
              <a:rPr lang="en-GB" sz="1400" b="1" dirty="0"/>
              <a:t>Plots show a clear signature difference between that of normal behaviour and that of Failure with pump torque, pump speed, an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3267367884"/>
                  </p:ext>
                </p:extLst>
              </p:nvPr>
            </p:nvGraphicFramePr>
            <p:xfrm>
              <a:off x="555324" y="1170050"/>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55324" y="1170050"/>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789171023"/>
                  </p:ext>
                </p:extLst>
              </p:nvPr>
            </p:nvGraphicFramePr>
            <p:xfrm>
              <a:off x="4609288" y="121624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609288" y="1216242"/>
                <a:ext cx="3887137" cy="2256396"/>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1EB3BAF7-CD6D-4E59-BA89-438B9E738BB2}"/>
                  </a:ext>
                </a:extLst>
              </p:cNvPr>
              <p:cNvGraphicFramePr/>
              <p:nvPr>
                <p:extLst>
                  <p:ext uri="{D42A27DB-BD31-4B8C-83A1-F6EECF244321}">
                    <p14:modId xmlns:p14="http://schemas.microsoft.com/office/powerpoint/2010/main" val="3929269814"/>
                  </p:ext>
                </p:extLst>
              </p:nvPr>
            </p:nvGraphicFramePr>
            <p:xfrm>
              <a:off x="4540250" y="3572943"/>
              <a:ext cx="3581866" cy="303112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7" name="Chart 6">
                <a:extLst>
                  <a:ext uri="{FF2B5EF4-FFF2-40B4-BE49-F238E27FC236}">
                    <a16:creationId xmlns:a16="http://schemas.microsoft.com/office/drawing/2014/main" id="{1EB3BAF7-CD6D-4E59-BA89-438B9E738BB2}"/>
                  </a:ext>
                </a:extLst>
              </p:cNvPr>
              <p:cNvPicPr>
                <a:picLocks noGrp="1" noRot="1" noChangeAspect="1" noMove="1" noResize="1" noEditPoints="1" noAdjustHandles="1" noChangeArrowheads="1" noChangeShapeType="1"/>
              </p:cNvPicPr>
              <p:nvPr/>
            </p:nvPicPr>
            <p:blipFill>
              <a:blip r:embed="rId7"/>
              <a:stretch>
                <a:fillRect/>
              </a:stretch>
            </p:blipFill>
            <p:spPr>
              <a:xfrm>
                <a:off x="4540250" y="3572943"/>
                <a:ext cx="3581866" cy="3031122"/>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CBAFE551-97F5-44C2-89F4-0F6B69FC0FF2}"/>
                  </a:ext>
                </a:extLst>
              </p:cNvPr>
              <p:cNvGraphicFramePr/>
              <p:nvPr>
                <p:extLst>
                  <p:ext uri="{D42A27DB-BD31-4B8C-83A1-F6EECF244321}">
                    <p14:modId xmlns:p14="http://schemas.microsoft.com/office/powerpoint/2010/main" val="1790281023"/>
                  </p:ext>
                </p:extLst>
              </p:nvPr>
            </p:nvGraphicFramePr>
            <p:xfrm>
              <a:off x="695130" y="3656381"/>
              <a:ext cx="3160025" cy="2540065"/>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0" name="Chart 9">
                <a:extLst>
                  <a:ext uri="{FF2B5EF4-FFF2-40B4-BE49-F238E27FC236}">
                    <a16:creationId xmlns:a16="http://schemas.microsoft.com/office/drawing/2014/main" id="{CBAFE551-97F5-44C2-89F4-0F6B69FC0FF2}"/>
                  </a:ext>
                </a:extLst>
              </p:cNvPr>
              <p:cNvPicPr>
                <a:picLocks noGrp="1" noRot="1" noChangeAspect="1" noMove="1" noResize="1" noEditPoints="1" noAdjustHandles="1" noChangeArrowheads="1" noChangeShapeType="1"/>
              </p:cNvPicPr>
              <p:nvPr/>
            </p:nvPicPr>
            <p:blipFill>
              <a:blip r:embed="rId9"/>
              <a:stretch>
                <a:fillRect/>
              </a:stretch>
            </p:blipFill>
            <p:spPr>
              <a:xfrm>
                <a:off x="695130" y="3656381"/>
                <a:ext cx="3160025" cy="2540065"/>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1056504"/>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7624A9DC-8878-4D92-B503-81654896EB9B}"/>
              </a:ext>
            </a:extLst>
          </p:cNvPr>
          <p:cNvGraphicFramePr>
            <a:graphicFrameLocks/>
          </p:cNvGraphicFramePr>
          <p:nvPr>
            <p:extLst>
              <p:ext uri="{D42A27DB-BD31-4B8C-83A1-F6EECF244321}">
                <p14:modId xmlns:p14="http://schemas.microsoft.com/office/powerpoint/2010/main" val="232363342"/>
              </p:ext>
            </p:extLst>
          </p:nvPr>
        </p:nvGraphicFramePr>
        <p:xfrm>
          <a:off x="4984045" y="1200938"/>
          <a:ext cx="3546758" cy="2580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7BAF9A27-76ED-44ED-AAAD-39367D7FE3B4}"/>
              </a:ext>
            </a:extLst>
          </p:cNvPr>
          <p:cNvGraphicFramePr>
            <a:graphicFrameLocks/>
          </p:cNvGraphicFramePr>
          <p:nvPr>
            <p:extLst>
              <p:ext uri="{D42A27DB-BD31-4B8C-83A1-F6EECF244321}">
                <p14:modId xmlns:p14="http://schemas.microsoft.com/office/powerpoint/2010/main" val="3130405329"/>
              </p:ext>
            </p:extLst>
          </p:nvPr>
        </p:nvGraphicFramePr>
        <p:xfrm>
          <a:off x="716844" y="1981200"/>
          <a:ext cx="3081865" cy="31213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D83223C-BBFC-457D-BE9F-D9ECEA5B2434}"/>
              </a:ext>
            </a:extLst>
          </p:cNvPr>
          <p:cNvGraphicFramePr>
            <a:graphicFrameLocks/>
          </p:cNvGraphicFramePr>
          <p:nvPr>
            <p:extLst>
              <p:ext uri="{D42A27DB-BD31-4B8C-83A1-F6EECF244321}">
                <p14:modId xmlns:p14="http://schemas.microsoft.com/office/powerpoint/2010/main" val="245526234"/>
              </p:ext>
            </p:extLst>
          </p:nvPr>
        </p:nvGraphicFramePr>
        <p:xfrm>
          <a:off x="4645377" y="3978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r>
              <a:rPr lang="en-GB" sz="1400" b="1" dirty="0"/>
              <a:t>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922578967"/>
              </p:ext>
            </p:extLst>
          </p:nvPr>
        </p:nvGraphicFramePr>
        <p:xfrm>
          <a:off x="5029200" y="1450622"/>
          <a:ext cx="3702050" cy="3855155"/>
        </p:xfrm>
        <a:graphic>
          <a:graphicData uri="http://schemas.openxmlformats.org/drawingml/2006/table">
            <a:tbl>
              <a:tblPr>
                <a:tableStyleId>{073A0DAA-6AF3-43AB-8588-CEC1D06C72B9}</a:tableStyleId>
              </a:tblPr>
              <a:tblGrid>
                <a:gridCol w="2570213">
                  <a:extLst>
                    <a:ext uri="{9D8B030D-6E8A-4147-A177-3AD203B41FA5}">
                      <a16:colId xmlns:a16="http://schemas.microsoft.com/office/drawing/2014/main" val="3168761024"/>
                    </a:ext>
                  </a:extLst>
                </a:gridCol>
                <a:gridCol w="1131837">
                  <a:extLst>
                    <a:ext uri="{9D8B030D-6E8A-4147-A177-3AD203B41FA5}">
                      <a16:colId xmlns:a16="http://schemas.microsoft.com/office/drawing/2014/main" val="3675497687"/>
                    </a:ext>
                  </a:extLst>
                </a:gridCol>
              </a:tblGrid>
              <a:tr h="768195">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Horse Power</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lnT w="12700" cmpd="sng">
                      <a:noFill/>
                    </a:lnT>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3.5524E-2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11676550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2</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033E-17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629439303"/>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Efficiency</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2.592E-15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077524446"/>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Torque </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0551E-102</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88985088"/>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Intercept</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8.27258E-24</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59883782"/>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Pump Speed (RPM)</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1.68299E-1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521281964"/>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Ambient Temperature</a:t>
                      </a:r>
                      <a:endParaRPr lang="en-US" sz="800" b="0" i="0" u="none" strike="noStrike" dirty="0">
                        <a:solidFill>
                          <a:srgbClr val="000000"/>
                        </a:solidFill>
                        <a:effectLst/>
                        <a:latin typeface="Calibri" panose="020F0502020204030204" pitchFamily="34" charset="0"/>
                      </a:endParaRPr>
                    </a:p>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20516E-09</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002673970"/>
                  </a:ext>
                </a:extLst>
              </a:tr>
              <a:tr h="38587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Volumetric Flow Meter 1</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u="none" strike="noStrike" dirty="0">
                          <a:effectLst/>
                        </a:rPr>
                        <a:t>4.01554E-07</a:t>
                      </a:r>
                      <a:endParaRPr lang="en-US" sz="800" b="0" i="0" u="none" strike="noStrike" dirty="0">
                        <a:solidFill>
                          <a:srgbClr val="000000"/>
                        </a:solidFill>
                        <a:effectLst/>
                        <a:latin typeface="Calibri" panose="020F0502020204030204" pitchFamily="34" charset="0"/>
                      </a:endParaRPr>
                    </a:p>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742560865"/>
                  </a:ext>
                </a:extLst>
              </a:tr>
            </a:tbl>
          </a:graphicData>
        </a:graphic>
      </p:graphicFrame>
      <p:pic>
        <p:nvPicPr>
          <p:cNvPr id="6" name="Picture 5">
            <a:extLst>
              <a:ext uri="{FF2B5EF4-FFF2-40B4-BE49-F238E27FC236}">
                <a16:creationId xmlns:a16="http://schemas.microsoft.com/office/drawing/2014/main" id="{1AF410C7-D97D-4B93-961C-6783280104D1}"/>
              </a:ext>
            </a:extLst>
          </p:cNvPr>
          <p:cNvPicPr>
            <a:picLocks noChangeAspect="1"/>
          </p:cNvPicPr>
          <p:nvPr/>
        </p:nvPicPr>
        <p:blipFill>
          <a:blip r:embed="rId2"/>
          <a:stretch>
            <a:fillRect/>
          </a:stretch>
        </p:blipFill>
        <p:spPr>
          <a:xfrm>
            <a:off x="0" y="1351468"/>
            <a:ext cx="4781129" cy="4018537"/>
          </a:xfrm>
          <a:prstGeom prst="rect">
            <a:avLst/>
          </a:prstGeom>
        </p:spPr>
      </p:pic>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69</TotalTime>
  <Words>463</Words>
  <Application>Microsoft Macintosh PowerPoint</Application>
  <PresentationFormat>Custom</PresentationFormat>
  <Paragraphs>87</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Plots show a clear signature difference between that of normal behaviour and that of Failure with pump torque, pump speed, and pump efficiency showing the 3 largest variances.</vt:lpstr>
      <vt:lpstr>Correlation analyses across datasets yield particularly interesting insights with pump efficiency and Volumetric Flow Meter 1 negatively correlated with Pump Failure in the Rolling Mean Data, whilst pump efficiency and Volumetric Flow Meter 1 show a subsequently strong positive correlation in the Rolling STDEV Dataset. </vt:lpstr>
      <vt:lpstr>Lastly, analysis of the statistical significance of variables contributing towards Pump Failure reveal that with a R Squared of 0.778, a linear model is a good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Ahmad Saquib Sina</cp:lastModifiedBy>
  <cp:revision>95</cp:revision>
  <dcterms:created xsi:type="dcterms:W3CDTF">2020-04-12T13:23:13Z</dcterms:created>
  <dcterms:modified xsi:type="dcterms:W3CDTF">2022-04-15T22:50:33Z</dcterms:modified>
</cp:coreProperties>
</file>